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7"/>
  </p:sldMasterIdLst>
  <p:notesMasterIdLst>
    <p:notesMasterId r:id="rId25"/>
  </p:notesMasterIdLst>
  <p:handoutMasterIdLst>
    <p:handoutMasterId r:id="rId26"/>
  </p:handoutMasterIdLst>
  <p:sldIdLst>
    <p:sldId id="2144868045" r:id="rId8"/>
    <p:sldId id="2144868125" r:id="rId9"/>
    <p:sldId id="2144868115" r:id="rId10"/>
    <p:sldId id="2144868118" r:id="rId11"/>
    <p:sldId id="2144868133" r:id="rId12"/>
    <p:sldId id="2144868075" r:id="rId13"/>
    <p:sldId id="2144868130" r:id="rId14"/>
    <p:sldId id="2144868131" r:id="rId15"/>
    <p:sldId id="2144868134" r:id="rId16"/>
    <p:sldId id="2144868117" r:id="rId17"/>
    <p:sldId id="2144868138" r:id="rId18"/>
    <p:sldId id="2144868132" r:id="rId19"/>
    <p:sldId id="2144868139" r:id="rId20"/>
    <p:sldId id="2144868137" r:id="rId21"/>
    <p:sldId id="2147468738" r:id="rId22"/>
    <p:sldId id="2952" r:id="rId23"/>
    <p:sldId id="2144868107" r:id="rId24"/>
  </p:sldIdLst>
  <p:sldSz cx="12192000" cy="6858000"/>
  <p:notesSz cx="6797675" cy="9929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uang, Jetteen" initials="HJ" lastIdx="57" clrIdx="0">
    <p:extLst>
      <p:ext uri="{19B8F6BF-5375-455C-9EA6-DF929625EA0E}">
        <p15:presenceInfo xmlns:p15="http://schemas.microsoft.com/office/powerpoint/2012/main" userId="S::jetteen.huang@lr.org::6b07446a-db1e-41f7-86f3-916fe14c507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B2D75E"/>
    <a:srgbClr val="FDA868"/>
    <a:srgbClr val="01B19F"/>
    <a:srgbClr val="6E67C7"/>
    <a:srgbClr val="BB6887"/>
    <a:srgbClr val="006854"/>
    <a:srgbClr val="204761"/>
    <a:srgbClr val="0C456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324" autoAdjust="0"/>
    <p:restoredTop sz="86602" autoAdjust="0"/>
  </p:normalViewPr>
  <p:slideViewPr>
    <p:cSldViewPr snapToGrid="0">
      <p:cViewPr varScale="1">
        <p:scale>
          <a:sx n="95" d="100"/>
          <a:sy n="95" d="100"/>
        </p:scale>
        <p:origin x="80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4026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29" Type="http://schemas.openxmlformats.org/officeDocument/2006/relationships/viewProps" Target="viewProps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32" Type="http://schemas.microsoft.com/office/2016/11/relationships/changesInfo" Target="changesInfos/changesInfo1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30" Type="http://schemas.openxmlformats.org/officeDocument/2006/relationships/theme" Target="theme/theme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own, Peter" userId="34fe0430-42e1-4120-9d39-668328cfa1f0" providerId="ADAL" clId="{212202D4-3E17-44EB-9FA4-907557E40392}"/>
    <pc:docChg chg="undo custSel addSld delSld modSld sldOrd">
      <pc:chgData name="Brown, Peter" userId="34fe0430-42e1-4120-9d39-668328cfa1f0" providerId="ADAL" clId="{212202D4-3E17-44EB-9FA4-907557E40392}" dt="2022-11-04T17:24:15.548" v="4218" actId="20577"/>
      <pc:docMkLst>
        <pc:docMk/>
      </pc:docMkLst>
      <pc:sldChg chg="addSp modSp add mod ord chgLayout modNotesTx">
        <pc:chgData name="Brown, Peter" userId="34fe0430-42e1-4120-9d39-668328cfa1f0" providerId="ADAL" clId="{212202D4-3E17-44EB-9FA4-907557E40392}" dt="2022-11-04T15:14:37.376" v="4211" actId="20577"/>
        <pc:sldMkLst>
          <pc:docMk/>
          <pc:sldMk cId="3033853086" sldId="1251"/>
        </pc:sldMkLst>
        <pc:spChg chg="mod ord">
          <ac:chgData name="Brown, Peter" userId="34fe0430-42e1-4120-9d39-668328cfa1f0" providerId="ADAL" clId="{212202D4-3E17-44EB-9FA4-907557E40392}" dt="2022-11-03T11:25:01.335" v="3045" actId="255"/>
          <ac:spMkLst>
            <pc:docMk/>
            <pc:sldMk cId="3033853086" sldId="1251"/>
            <ac:spMk id="2" creationId="{00000000-0000-0000-0000-000000000000}"/>
          </ac:spMkLst>
        </pc:spChg>
        <pc:spChg chg="add mod ord">
          <ac:chgData name="Brown, Peter" userId="34fe0430-42e1-4120-9d39-668328cfa1f0" providerId="ADAL" clId="{212202D4-3E17-44EB-9FA4-907557E40392}" dt="2022-11-03T11:22:09.136" v="3026" actId="700"/>
          <ac:spMkLst>
            <pc:docMk/>
            <pc:sldMk cId="3033853086" sldId="1251"/>
            <ac:spMk id="4" creationId="{34E00DC6-AB6B-3B5E-D8B9-B8EA4A7CA165}"/>
          </ac:spMkLst>
        </pc:spChg>
        <pc:spChg chg="mod ord">
          <ac:chgData name="Brown, Peter" userId="34fe0430-42e1-4120-9d39-668328cfa1f0" providerId="ADAL" clId="{212202D4-3E17-44EB-9FA4-907557E40392}" dt="2022-11-03T11:22:09.136" v="3026" actId="700"/>
          <ac:spMkLst>
            <pc:docMk/>
            <pc:sldMk cId="3033853086" sldId="1251"/>
            <ac:spMk id="8" creationId="{7775A757-17A5-454D-B02F-0453ABFF6332}"/>
          </ac:spMkLst>
        </pc:spChg>
        <pc:spChg chg="mod">
          <ac:chgData name="Brown, Peter" userId="34fe0430-42e1-4120-9d39-668328cfa1f0" providerId="ADAL" clId="{212202D4-3E17-44EB-9FA4-907557E40392}" dt="2022-11-03T11:26:51.658" v="3047" actId="207"/>
          <ac:spMkLst>
            <pc:docMk/>
            <pc:sldMk cId="3033853086" sldId="1251"/>
            <ac:spMk id="48" creationId="{00000000-0000-0000-0000-000000000000}"/>
          </ac:spMkLst>
        </pc:spChg>
        <pc:spChg chg="mod">
          <ac:chgData name="Brown, Peter" userId="34fe0430-42e1-4120-9d39-668328cfa1f0" providerId="ADAL" clId="{212202D4-3E17-44EB-9FA4-907557E40392}" dt="2022-11-03T11:26:51.658" v="3047" actId="207"/>
          <ac:spMkLst>
            <pc:docMk/>
            <pc:sldMk cId="3033853086" sldId="1251"/>
            <ac:spMk id="49" creationId="{00000000-0000-0000-0000-000000000000}"/>
          </ac:spMkLst>
        </pc:spChg>
        <pc:spChg chg="mod">
          <ac:chgData name="Brown, Peter" userId="34fe0430-42e1-4120-9d39-668328cfa1f0" providerId="ADAL" clId="{212202D4-3E17-44EB-9FA4-907557E40392}" dt="2022-11-03T11:26:51.658" v="3047" actId="207"/>
          <ac:spMkLst>
            <pc:docMk/>
            <pc:sldMk cId="3033853086" sldId="1251"/>
            <ac:spMk id="50" creationId="{00000000-0000-0000-0000-000000000000}"/>
          </ac:spMkLst>
        </pc:spChg>
        <pc:spChg chg="mod">
          <ac:chgData name="Brown, Peter" userId="34fe0430-42e1-4120-9d39-668328cfa1f0" providerId="ADAL" clId="{212202D4-3E17-44EB-9FA4-907557E40392}" dt="2022-11-03T11:26:51.658" v="3047" actId="207"/>
          <ac:spMkLst>
            <pc:docMk/>
            <pc:sldMk cId="3033853086" sldId="1251"/>
            <ac:spMk id="51" creationId="{00000000-0000-0000-0000-000000000000}"/>
          </ac:spMkLst>
        </pc:spChg>
        <pc:spChg chg="mod">
          <ac:chgData name="Brown, Peter" userId="34fe0430-42e1-4120-9d39-668328cfa1f0" providerId="ADAL" clId="{212202D4-3E17-44EB-9FA4-907557E40392}" dt="2022-11-03T11:26:51.658" v="3047" actId="207"/>
          <ac:spMkLst>
            <pc:docMk/>
            <pc:sldMk cId="3033853086" sldId="1251"/>
            <ac:spMk id="52" creationId="{00000000-0000-0000-0000-000000000000}"/>
          </ac:spMkLst>
        </pc:spChg>
      </pc:sldChg>
      <pc:sldChg chg="addSp delSp modSp add mod modClrScheme chgLayout modNotesTx">
        <pc:chgData name="Brown, Peter" userId="34fe0430-42e1-4120-9d39-668328cfa1f0" providerId="ADAL" clId="{212202D4-3E17-44EB-9FA4-907557E40392}" dt="2022-11-04T15:04:42.028" v="3973" actId="20577"/>
        <pc:sldMkLst>
          <pc:docMk/>
          <pc:sldMk cId="1427196750" sldId="1280"/>
        </pc:sldMkLst>
        <pc:spChg chg="add del mod ord">
          <ac:chgData name="Brown, Peter" userId="34fe0430-42e1-4120-9d39-668328cfa1f0" providerId="ADAL" clId="{212202D4-3E17-44EB-9FA4-907557E40392}" dt="2022-11-03T11:23:57.427" v="3042" actId="700"/>
          <ac:spMkLst>
            <pc:docMk/>
            <pc:sldMk cId="1427196750" sldId="1280"/>
            <ac:spMk id="2" creationId="{DA449DB3-3AA3-BDC8-FD86-2F17C9C305D0}"/>
          </ac:spMkLst>
        </pc:spChg>
        <pc:spChg chg="add del mod ord">
          <ac:chgData name="Brown, Peter" userId="34fe0430-42e1-4120-9d39-668328cfa1f0" providerId="ADAL" clId="{212202D4-3E17-44EB-9FA4-907557E40392}" dt="2022-11-03T11:24:40.247" v="3044" actId="700"/>
          <ac:spMkLst>
            <pc:docMk/>
            <pc:sldMk cId="1427196750" sldId="1280"/>
            <ac:spMk id="3" creationId="{2C99247C-E194-1618-8A0C-71DC7D892698}"/>
          </ac:spMkLst>
        </pc:spChg>
        <pc:spChg chg="add mod ord">
          <ac:chgData name="Brown, Peter" userId="34fe0430-42e1-4120-9d39-668328cfa1f0" providerId="ADAL" clId="{212202D4-3E17-44EB-9FA4-907557E40392}" dt="2022-11-03T11:24:40.247" v="3044" actId="700"/>
          <ac:spMkLst>
            <pc:docMk/>
            <pc:sldMk cId="1427196750" sldId="1280"/>
            <ac:spMk id="4" creationId="{A20E8413-707B-5886-4D86-5DABD614E5E9}"/>
          </ac:spMkLst>
        </pc:spChg>
        <pc:spChg chg="mod ord">
          <ac:chgData name="Brown, Peter" userId="34fe0430-42e1-4120-9d39-668328cfa1f0" providerId="ADAL" clId="{212202D4-3E17-44EB-9FA4-907557E40392}" dt="2022-11-03T11:24:40.247" v="3044" actId="700"/>
          <ac:spMkLst>
            <pc:docMk/>
            <pc:sldMk cId="1427196750" sldId="1280"/>
            <ac:spMk id="8" creationId="{00000000-0000-0000-0000-000000000000}"/>
          </ac:spMkLst>
        </pc:spChg>
        <pc:spChg chg="mod ord">
          <ac:chgData name="Brown, Peter" userId="34fe0430-42e1-4120-9d39-668328cfa1f0" providerId="ADAL" clId="{212202D4-3E17-44EB-9FA4-907557E40392}" dt="2022-11-03T11:24:40.247" v="3044" actId="700"/>
          <ac:spMkLst>
            <pc:docMk/>
            <pc:sldMk cId="1427196750" sldId="1280"/>
            <ac:spMk id="77" creationId="{891D0FD8-AB0E-4A57-A34A-34500F253AA9}"/>
          </ac:spMkLst>
        </pc:spChg>
        <pc:spChg chg="mod">
          <ac:chgData name="Brown, Peter" userId="34fe0430-42e1-4120-9d39-668328cfa1f0" providerId="ADAL" clId="{212202D4-3E17-44EB-9FA4-907557E40392}" dt="2022-11-03T11:27:02.614" v="3054" actId="20577"/>
          <ac:spMkLst>
            <pc:docMk/>
            <pc:sldMk cId="1427196750" sldId="1280"/>
            <ac:spMk id="87" creationId="{8759CF52-15CB-49AB-A446-609B11CB1F4A}"/>
          </ac:spMkLst>
        </pc:spChg>
        <pc:spChg chg="mod">
          <ac:chgData name="Brown, Peter" userId="34fe0430-42e1-4120-9d39-668328cfa1f0" providerId="ADAL" clId="{212202D4-3E17-44EB-9FA4-907557E40392}" dt="2022-11-03T11:26:30.946" v="3046" actId="207"/>
          <ac:spMkLst>
            <pc:docMk/>
            <pc:sldMk cId="1427196750" sldId="1280"/>
            <ac:spMk id="88" creationId="{A217D926-BD93-4E8B-9E59-BA0926922C1A}"/>
          </ac:spMkLst>
        </pc:spChg>
        <pc:spChg chg="mod">
          <ac:chgData name="Brown, Peter" userId="34fe0430-42e1-4120-9d39-668328cfa1f0" providerId="ADAL" clId="{212202D4-3E17-44EB-9FA4-907557E40392}" dt="2022-11-03T11:26:30.946" v="3046" actId="207"/>
          <ac:spMkLst>
            <pc:docMk/>
            <pc:sldMk cId="1427196750" sldId="1280"/>
            <ac:spMk id="89" creationId="{4DC68DF4-21D3-453F-A2E7-7A263B40A1C5}"/>
          </ac:spMkLst>
        </pc:spChg>
        <pc:spChg chg="mod">
          <ac:chgData name="Brown, Peter" userId="34fe0430-42e1-4120-9d39-668328cfa1f0" providerId="ADAL" clId="{212202D4-3E17-44EB-9FA4-907557E40392}" dt="2022-11-03T11:26:30.946" v="3046" actId="207"/>
          <ac:spMkLst>
            <pc:docMk/>
            <pc:sldMk cId="1427196750" sldId="1280"/>
            <ac:spMk id="90" creationId="{DAECD2B1-1F50-42B4-9934-C64B5AC135C4}"/>
          </ac:spMkLst>
        </pc:spChg>
        <pc:spChg chg="mod">
          <ac:chgData name="Brown, Peter" userId="34fe0430-42e1-4120-9d39-668328cfa1f0" providerId="ADAL" clId="{212202D4-3E17-44EB-9FA4-907557E40392}" dt="2022-11-03T11:26:30.946" v="3046" actId="207"/>
          <ac:spMkLst>
            <pc:docMk/>
            <pc:sldMk cId="1427196750" sldId="1280"/>
            <ac:spMk id="91" creationId="{065BB6E8-8DDE-483B-BAB3-71A5556B2127}"/>
          </ac:spMkLst>
        </pc:spChg>
        <pc:spChg chg="mod">
          <ac:chgData name="Brown, Peter" userId="34fe0430-42e1-4120-9d39-668328cfa1f0" providerId="ADAL" clId="{212202D4-3E17-44EB-9FA4-907557E40392}" dt="2022-11-03T11:26:30.946" v="3046" actId="207"/>
          <ac:spMkLst>
            <pc:docMk/>
            <pc:sldMk cId="1427196750" sldId="1280"/>
            <ac:spMk id="113" creationId="{839EDC87-4A71-420A-AAC1-272CCE6B339C}"/>
          </ac:spMkLst>
        </pc:spChg>
        <pc:spChg chg="mod">
          <ac:chgData name="Brown, Peter" userId="34fe0430-42e1-4120-9d39-668328cfa1f0" providerId="ADAL" clId="{212202D4-3E17-44EB-9FA4-907557E40392}" dt="2022-11-03T11:26:30.946" v="3046" actId="207"/>
          <ac:spMkLst>
            <pc:docMk/>
            <pc:sldMk cId="1427196750" sldId="1280"/>
            <ac:spMk id="114" creationId="{33CC173B-D763-4BC2-BB49-6EB3D72B3933}"/>
          </ac:spMkLst>
        </pc:spChg>
        <pc:spChg chg="mod">
          <ac:chgData name="Brown, Peter" userId="34fe0430-42e1-4120-9d39-668328cfa1f0" providerId="ADAL" clId="{212202D4-3E17-44EB-9FA4-907557E40392}" dt="2022-11-03T11:26:30.946" v="3046" actId="207"/>
          <ac:spMkLst>
            <pc:docMk/>
            <pc:sldMk cId="1427196750" sldId="1280"/>
            <ac:spMk id="115" creationId="{A26359F1-2AFA-4552-858D-EC8AAA8A77F1}"/>
          </ac:spMkLst>
        </pc:spChg>
        <pc:spChg chg="mod">
          <ac:chgData name="Brown, Peter" userId="34fe0430-42e1-4120-9d39-668328cfa1f0" providerId="ADAL" clId="{212202D4-3E17-44EB-9FA4-907557E40392}" dt="2022-11-03T11:26:30.946" v="3046" actId="207"/>
          <ac:spMkLst>
            <pc:docMk/>
            <pc:sldMk cId="1427196750" sldId="1280"/>
            <ac:spMk id="116" creationId="{E64187B5-82FB-4F4B-81F6-507F361C28C6}"/>
          </ac:spMkLst>
        </pc:spChg>
        <pc:grpChg chg="mod">
          <ac:chgData name="Brown, Peter" userId="34fe0430-42e1-4120-9d39-668328cfa1f0" providerId="ADAL" clId="{212202D4-3E17-44EB-9FA4-907557E40392}" dt="2022-11-03T11:26:30.946" v="3046" actId="207"/>
          <ac:grpSpMkLst>
            <pc:docMk/>
            <pc:sldMk cId="1427196750" sldId="1280"/>
            <ac:grpSpMk id="60" creationId="{DE34753B-41D9-426A-B5AB-9F3BA366C1DD}"/>
          </ac:grpSpMkLst>
        </pc:grpChg>
        <pc:grpChg chg="mod">
          <ac:chgData name="Brown, Peter" userId="34fe0430-42e1-4120-9d39-668328cfa1f0" providerId="ADAL" clId="{212202D4-3E17-44EB-9FA4-907557E40392}" dt="2022-11-03T11:26:30.946" v="3046" actId="207"/>
          <ac:grpSpMkLst>
            <pc:docMk/>
            <pc:sldMk cId="1427196750" sldId="1280"/>
            <ac:grpSpMk id="63" creationId="{9185CEDB-E7FD-4671-8D5C-722D9BFA3155}"/>
          </ac:grpSpMkLst>
        </pc:grpChg>
        <pc:grpChg chg="mod">
          <ac:chgData name="Brown, Peter" userId="34fe0430-42e1-4120-9d39-668328cfa1f0" providerId="ADAL" clId="{212202D4-3E17-44EB-9FA4-907557E40392}" dt="2022-11-03T11:26:30.946" v="3046" actId="207"/>
          <ac:grpSpMkLst>
            <pc:docMk/>
            <pc:sldMk cId="1427196750" sldId="1280"/>
            <ac:grpSpMk id="66" creationId="{20CA3526-439B-4DC7-A199-69D7567FDB59}"/>
          </ac:grpSpMkLst>
        </pc:grpChg>
        <pc:grpChg chg="mod">
          <ac:chgData name="Brown, Peter" userId="34fe0430-42e1-4120-9d39-668328cfa1f0" providerId="ADAL" clId="{212202D4-3E17-44EB-9FA4-907557E40392}" dt="2022-11-03T11:26:30.946" v="3046" actId="207"/>
          <ac:grpSpMkLst>
            <pc:docMk/>
            <pc:sldMk cId="1427196750" sldId="1280"/>
            <ac:grpSpMk id="69" creationId="{BD6B6898-7030-406A-AC95-88F44964EF71}"/>
          </ac:grpSpMkLst>
        </pc:grpChg>
        <pc:grpChg chg="mod">
          <ac:chgData name="Brown, Peter" userId="34fe0430-42e1-4120-9d39-668328cfa1f0" providerId="ADAL" clId="{212202D4-3E17-44EB-9FA4-907557E40392}" dt="2022-11-03T11:26:30.946" v="3046" actId="207"/>
          <ac:grpSpMkLst>
            <pc:docMk/>
            <pc:sldMk cId="1427196750" sldId="1280"/>
            <ac:grpSpMk id="72" creationId="{C2928F29-12BA-4350-A107-0E6E6F5D0F08}"/>
          </ac:grpSpMkLst>
        </pc:grpChg>
        <pc:grpChg chg="mod">
          <ac:chgData name="Brown, Peter" userId="34fe0430-42e1-4120-9d39-668328cfa1f0" providerId="ADAL" clId="{212202D4-3E17-44EB-9FA4-907557E40392}" dt="2022-11-03T11:26:30.946" v="3046" actId="207"/>
          <ac:grpSpMkLst>
            <pc:docMk/>
            <pc:sldMk cId="1427196750" sldId="1280"/>
            <ac:grpSpMk id="100" creationId="{838334B2-E860-451F-9681-DEB313F94DEA}"/>
          </ac:grpSpMkLst>
        </pc:grpChg>
        <pc:grpChg chg="mod">
          <ac:chgData name="Brown, Peter" userId="34fe0430-42e1-4120-9d39-668328cfa1f0" providerId="ADAL" clId="{212202D4-3E17-44EB-9FA4-907557E40392}" dt="2022-11-03T11:26:30.946" v="3046" actId="207"/>
          <ac:grpSpMkLst>
            <pc:docMk/>
            <pc:sldMk cId="1427196750" sldId="1280"/>
            <ac:grpSpMk id="103" creationId="{C7C400A5-F213-45E6-B06B-B8BE26C54DCC}"/>
          </ac:grpSpMkLst>
        </pc:grpChg>
        <pc:cxnChg chg="mod">
          <ac:chgData name="Brown, Peter" userId="34fe0430-42e1-4120-9d39-668328cfa1f0" providerId="ADAL" clId="{212202D4-3E17-44EB-9FA4-907557E40392}" dt="2022-11-03T11:26:30.946" v="3046" actId="207"/>
          <ac:cxnSpMkLst>
            <pc:docMk/>
            <pc:sldMk cId="1427196750" sldId="1280"/>
            <ac:cxnSpMk id="76" creationId="{B459AA97-E253-4356-ABBF-F54A01C9267A}"/>
          </ac:cxnSpMkLst>
        </pc:cxnChg>
        <pc:cxnChg chg="mod">
          <ac:chgData name="Brown, Peter" userId="34fe0430-42e1-4120-9d39-668328cfa1f0" providerId="ADAL" clId="{212202D4-3E17-44EB-9FA4-907557E40392}" dt="2022-11-03T11:26:30.946" v="3046" actId="207"/>
          <ac:cxnSpMkLst>
            <pc:docMk/>
            <pc:sldMk cId="1427196750" sldId="1280"/>
            <ac:cxnSpMk id="82" creationId="{F5BE72CD-0AED-4834-96A9-5CFB65DCC08A}"/>
          </ac:cxnSpMkLst>
        </pc:cxnChg>
        <pc:cxnChg chg="mod">
          <ac:chgData name="Brown, Peter" userId="34fe0430-42e1-4120-9d39-668328cfa1f0" providerId="ADAL" clId="{212202D4-3E17-44EB-9FA4-907557E40392}" dt="2022-11-03T11:26:30.946" v="3046" actId="207"/>
          <ac:cxnSpMkLst>
            <pc:docMk/>
            <pc:sldMk cId="1427196750" sldId="1280"/>
            <ac:cxnSpMk id="83" creationId="{9840E084-9079-40A6-BB04-82698AD9226E}"/>
          </ac:cxnSpMkLst>
        </pc:cxnChg>
        <pc:cxnChg chg="mod">
          <ac:chgData name="Brown, Peter" userId="34fe0430-42e1-4120-9d39-668328cfa1f0" providerId="ADAL" clId="{212202D4-3E17-44EB-9FA4-907557E40392}" dt="2022-11-03T11:26:30.946" v="3046" actId="207"/>
          <ac:cxnSpMkLst>
            <pc:docMk/>
            <pc:sldMk cId="1427196750" sldId="1280"/>
            <ac:cxnSpMk id="84" creationId="{C3E3F826-0807-40DD-A524-82AE63776ECC}"/>
          </ac:cxnSpMkLst>
        </pc:cxnChg>
        <pc:cxnChg chg="mod">
          <ac:chgData name="Brown, Peter" userId="34fe0430-42e1-4120-9d39-668328cfa1f0" providerId="ADAL" clId="{212202D4-3E17-44EB-9FA4-907557E40392}" dt="2022-11-03T11:26:30.946" v="3046" actId="207"/>
          <ac:cxnSpMkLst>
            <pc:docMk/>
            <pc:sldMk cId="1427196750" sldId="1280"/>
            <ac:cxnSpMk id="92" creationId="{F6ABAAE1-3832-40A0-AD01-01ABBC659ABA}"/>
          </ac:cxnSpMkLst>
        </pc:cxnChg>
        <pc:cxnChg chg="mod">
          <ac:chgData name="Brown, Peter" userId="34fe0430-42e1-4120-9d39-668328cfa1f0" providerId="ADAL" clId="{212202D4-3E17-44EB-9FA4-907557E40392}" dt="2022-11-03T11:26:30.946" v="3046" actId="207"/>
          <ac:cxnSpMkLst>
            <pc:docMk/>
            <pc:sldMk cId="1427196750" sldId="1280"/>
            <ac:cxnSpMk id="93" creationId="{AAB8E650-86BA-461E-B2B2-F11F81FDAF8C}"/>
          </ac:cxnSpMkLst>
        </pc:cxnChg>
        <pc:cxnChg chg="mod">
          <ac:chgData name="Brown, Peter" userId="34fe0430-42e1-4120-9d39-668328cfa1f0" providerId="ADAL" clId="{212202D4-3E17-44EB-9FA4-907557E40392}" dt="2022-11-03T11:26:30.946" v="3046" actId="207"/>
          <ac:cxnSpMkLst>
            <pc:docMk/>
            <pc:sldMk cId="1427196750" sldId="1280"/>
            <ac:cxnSpMk id="94" creationId="{BDE4BAE1-66DD-4818-90DF-EFE84A494C32}"/>
          </ac:cxnSpMkLst>
        </pc:cxnChg>
        <pc:cxnChg chg="mod">
          <ac:chgData name="Brown, Peter" userId="34fe0430-42e1-4120-9d39-668328cfa1f0" providerId="ADAL" clId="{212202D4-3E17-44EB-9FA4-907557E40392}" dt="2022-11-03T11:26:30.946" v="3046" actId="207"/>
          <ac:cxnSpMkLst>
            <pc:docMk/>
            <pc:sldMk cId="1427196750" sldId="1280"/>
            <ac:cxnSpMk id="95" creationId="{08530EA2-9AC6-407F-B2FA-B1E9CE0680FD}"/>
          </ac:cxnSpMkLst>
        </pc:cxnChg>
        <pc:cxnChg chg="mod">
          <ac:chgData name="Brown, Peter" userId="34fe0430-42e1-4120-9d39-668328cfa1f0" providerId="ADAL" clId="{212202D4-3E17-44EB-9FA4-907557E40392}" dt="2022-11-03T11:26:30.946" v="3046" actId="207"/>
          <ac:cxnSpMkLst>
            <pc:docMk/>
            <pc:sldMk cId="1427196750" sldId="1280"/>
            <ac:cxnSpMk id="96" creationId="{A3E47409-799B-45DC-9E1C-B9DAC0A4A2D4}"/>
          </ac:cxnSpMkLst>
        </pc:cxnChg>
        <pc:cxnChg chg="mod">
          <ac:chgData name="Brown, Peter" userId="34fe0430-42e1-4120-9d39-668328cfa1f0" providerId="ADAL" clId="{212202D4-3E17-44EB-9FA4-907557E40392}" dt="2022-11-03T11:26:30.946" v="3046" actId="207"/>
          <ac:cxnSpMkLst>
            <pc:docMk/>
            <pc:sldMk cId="1427196750" sldId="1280"/>
            <ac:cxnSpMk id="98" creationId="{3C38FA7A-CFEA-4FD5-BAD9-11FBD44472E9}"/>
          </ac:cxnSpMkLst>
        </pc:cxnChg>
        <pc:cxnChg chg="mod">
          <ac:chgData name="Brown, Peter" userId="34fe0430-42e1-4120-9d39-668328cfa1f0" providerId="ADAL" clId="{212202D4-3E17-44EB-9FA4-907557E40392}" dt="2022-11-03T11:26:30.946" v="3046" actId="207"/>
          <ac:cxnSpMkLst>
            <pc:docMk/>
            <pc:sldMk cId="1427196750" sldId="1280"/>
            <ac:cxnSpMk id="99" creationId="{C69C2A4B-F8AB-4925-9C79-C777C196C789}"/>
          </ac:cxnSpMkLst>
        </pc:cxnChg>
      </pc:sldChg>
      <pc:sldChg chg="addSp modSp add mod chgLayout modNotesTx">
        <pc:chgData name="Brown, Peter" userId="34fe0430-42e1-4120-9d39-668328cfa1f0" providerId="ADAL" clId="{212202D4-3E17-44EB-9FA4-907557E40392}" dt="2022-11-04T17:24:15.548" v="4218" actId="20577"/>
        <pc:sldMkLst>
          <pc:docMk/>
          <pc:sldMk cId="3949693503" sldId="1281"/>
        </pc:sldMkLst>
        <pc:spChg chg="add mod ord">
          <ac:chgData name="Brown, Peter" userId="34fe0430-42e1-4120-9d39-668328cfa1f0" providerId="ADAL" clId="{212202D4-3E17-44EB-9FA4-907557E40392}" dt="2022-11-03T11:32:40.737" v="3056" actId="700"/>
          <ac:spMkLst>
            <pc:docMk/>
            <pc:sldMk cId="3949693503" sldId="1281"/>
            <ac:spMk id="2" creationId="{80DB4618-E7FE-48D4-8938-4D59F7965CCD}"/>
          </ac:spMkLst>
        </pc:spChg>
        <pc:spChg chg="mod ord">
          <ac:chgData name="Brown, Peter" userId="34fe0430-42e1-4120-9d39-668328cfa1f0" providerId="ADAL" clId="{212202D4-3E17-44EB-9FA4-907557E40392}" dt="2022-11-03T11:32:40.737" v="3056" actId="700"/>
          <ac:spMkLst>
            <pc:docMk/>
            <pc:sldMk cId="3949693503" sldId="1281"/>
            <ac:spMk id="8" creationId="{00000000-0000-0000-0000-000000000000}"/>
          </ac:spMkLst>
        </pc:spChg>
        <pc:spChg chg="mod">
          <ac:chgData name="Brown, Peter" userId="34fe0430-42e1-4120-9d39-668328cfa1f0" providerId="ADAL" clId="{212202D4-3E17-44EB-9FA4-907557E40392}" dt="2022-11-03T11:32:58.692" v="3058" actId="207"/>
          <ac:spMkLst>
            <pc:docMk/>
            <pc:sldMk cId="3949693503" sldId="1281"/>
            <ac:spMk id="61" creationId="{02DD153F-6C57-40A4-88FC-E3A1F71BFE1D}"/>
          </ac:spMkLst>
        </pc:spChg>
        <pc:spChg chg="mod">
          <ac:chgData name="Brown, Peter" userId="34fe0430-42e1-4120-9d39-668328cfa1f0" providerId="ADAL" clId="{212202D4-3E17-44EB-9FA4-907557E40392}" dt="2022-11-03T11:32:58.692" v="3058" actId="207"/>
          <ac:spMkLst>
            <pc:docMk/>
            <pc:sldMk cId="3949693503" sldId="1281"/>
            <ac:spMk id="62" creationId="{369E7B57-9497-49B8-82EC-6A90D6E0F5BE}"/>
          </ac:spMkLst>
        </pc:spChg>
        <pc:spChg chg="mod">
          <ac:chgData name="Brown, Peter" userId="34fe0430-42e1-4120-9d39-668328cfa1f0" providerId="ADAL" clId="{212202D4-3E17-44EB-9FA4-907557E40392}" dt="2022-11-03T11:32:58.692" v="3058" actId="207"/>
          <ac:spMkLst>
            <pc:docMk/>
            <pc:sldMk cId="3949693503" sldId="1281"/>
            <ac:spMk id="64" creationId="{F3CC3C2C-43AF-49DC-9214-32E3652A8621}"/>
          </ac:spMkLst>
        </pc:spChg>
        <pc:spChg chg="mod">
          <ac:chgData name="Brown, Peter" userId="34fe0430-42e1-4120-9d39-668328cfa1f0" providerId="ADAL" clId="{212202D4-3E17-44EB-9FA4-907557E40392}" dt="2022-11-03T11:32:58.692" v="3058" actId="207"/>
          <ac:spMkLst>
            <pc:docMk/>
            <pc:sldMk cId="3949693503" sldId="1281"/>
            <ac:spMk id="65" creationId="{E2287C66-C10B-4F82-88B3-D01E2DFA6C56}"/>
          </ac:spMkLst>
        </pc:spChg>
        <pc:spChg chg="mod">
          <ac:chgData name="Brown, Peter" userId="34fe0430-42e1-4120-9d39-668328cfa1f0" providerId="ADAL" clId="{212202D4-3E17-44EB-9FA4-907557E40392}" dt="2022-11-03T11:32:58.692" v="3058" actId="207"/>
          <ac:spMkLst>
            <pc:docMk/>
            <pc:sldMk cId="3949693503" sldId="1281"/>
            <ac:spMk id="67" creationId="{AFA37143-DF74-49B1-ADA2-7B8C3D139DBF}"/>
          </ac:spMkLst>
        </pc:spChg>
        <pc:spChg chg="mod">
          <ac:chgData name="Brown, Peter" userId="34fe0430-42e1-4120-9d39-668328cfa1f0" providerId="ADAL" clId="{212202D4-3E17-44EB-9FA4-907557E40392}" dt="2022-11-03T11:32:58.692" v="3058" actId="207"/>
          <ac:spMkLst>
            <pc:docMk/>
            <pc:sldMk cId="3949693503" sldId="1281"/>
            <ac:spMk id="68" creationId="{D6840988-CA36-4A36-BFF8-1DBFF932827E}"/>
          </ac:spMkLst>
        </pc:spChg>
        <pc:spChg chg="mod">
          <ac:chgData name="Brown, Peter" userId="34fe0430-42e1-4120-9d39-668328cfa1f0" providerId="ADAL" clId="{212202D4-3E17-44EB-9FA4-907557E40392}" dt="2022-11-03T11:32:58.692" v="3058" actId="207"/>
          <ac:spMkLst>
            <pc:docMk/>
            <pc:sldMk cId="3949693503" sldId="1281"/>
            <ac:spMk id="70" creationId="{30F37F5B-A216-4F60-A317-DE84173020C5}"/>
          </ac:spMkLst>
        </pc:spChg>
        <pc:spChg chg="mod">
          <ac:chgData name="Brown, Peter" userId="34fe0430-42e1-4120-9d39-668328cfa1f0" providerId="ADAL" clId="{212202D4-3E17-44EB-9FA4-907557E40392}" dt="2022-11-03T11:32:58.692" v="3058" actId="207"/>
          <ac:spMkLst>
            <pc:docMk/>
            <pc:sldMk cId="3949693503" sldId="1281"/>
            <ac:spMk id="71" creationId="{A43EB96C-74DA-4880-92D5-BB6E2EBFC3A4}"/>
          </ac:spMkLst>
        </pc:spChg>
        <pc:spChg chg="mod ord">
          <ac:chgData name="Brown, Peter" userId="34fe0430-42e1-4120-9d39-668328cfa1f0" providerId="ADAL" clId="{212202D4-3E17-44EB-9FA4-907557E40392}" dt="2022-11-03T11:32:40.737" v="3056" actId="700"/>
          <ac:spMkLst>
            <pc:docMk/>
            <pc:sldMk cId="3949693503" sldId="1281"/>
            <ac:spMk id="73" creationId="{6D2B2C56-292B-43F1-90C8-852D8B6DDD2B}"/>
          </ac:spMkLst>
        </pc:spChg>
        <pc:spChg chg="mod">
          <ac:chgData name="Brown, Peter" userId="34fe0430-42e1-4120-9d39-668328cfa1f0" providerId="ADAL" clId="{212202D4-3E17-44EB-9FA4-907557E40392}" dt="2022-11-04T17:24:15.548" v="4218" actId="20577"/>
          <ac:spMkLst>
            <pc:docMk/>
            <pc:sldMk cId="3949693503" sldId="1281"/>
            <ac:spMk id="85" creationId="{57DBE2E3-6712-4328-9F2E-B05302DEC55B}"/>
          </ac:spMkLst>
        </pc:spChg>
        <pc:spChg chg="mod">
          <ac:chgData name="Brown, Peter" userId="34fe0430-42e1-4120-9d39-668328cfa1f0" providerId="ADAL" clId="{212202D4-3E17-44EB-9FA4-907557E40392}" dt="2022-11-03T11:33:06.718" v="3065" actId="20577"/>
          <ac:spMkLst>
            <pc:docMk/>
            <pc:sldMk cId="3949693503" sldId="1281"/>
            <ac:spMk id="87" creationId="{8759CF52-15CB-49AB-A446-609B11CB1F4A}"/>
          </ac:spMkLst>
        </pc:spChg>
        <pc:spChg chg="mod">
          <ac:chgData name="Brown, Peter" userId="34fe0430-42e1-4120-9d39-668328cfa1f0" providerId="ADAL" clId="{212202D4-3E17-44EB-9FA4-907557E40392}" dt="2022-11-03T11:32:51.885" v="3057" actId="207"/>
          <ac:spMkLst>
            <pc:docMk/>
            <pc:sldMk cId="3949693503" sldId="1281"/>
            <ac:spMk id="88" creationId="{A217D926-BD93-4E8B-9E59-BA0926922C1A}"/>
          </ac:spMkLst>
        </pc:spChg>
        <pc:spChg chg="mod">
          <ac:chgData name="Brown, Peter" userId="34fe0430-42e1-4120-9d39-668328cfa1f0" providerId="ADAL" clId="{212202D4-3E17-44EB-9FA4-907557E40392}" dt="2022-11-03T11:32:51.885" v="3057" actId="207"/>
          <ac:spMkLst>
            <pc:docMk/>
            <pc:sldMk cId="3949693503" sldId="1281"/>
            <ac:spMk id="89" creationId="{4DC68DF4-21D3-453F-A2E7-7A263B40A1C5}"/>
          </ac:spMkLst>
        </pc:spChg>
        <pc:spChg chg="mod">
          <ac:chgData name="Brown, Peter" userId="34fe0430-42e1-4120-9d39-668328cfa1f0" providerId="ADAL" clId="{212202D4-3E17-44EB-9FA4-907557E40392}" dt="2022-11-03T11:32:51.885" v="3057" actId="207"/>
          <ac:spMkLst>
            <pc:docMk/>
            <pc:sldMk cId="3949693503" sldId="1281"/>
            <ac:spMk id="90" creationId="{DAECD2B1-1F50-42B4-9934-C64B5AC135C4}"/>
          </ac:spMkLst>
        </pc:spChg>
        <pc:spChg chg="mod">
          <ac:chgData name="Brown, Peter" userId="34fe0430-42e1-4120-9d39-668328cfa1f0" providerId="ADAL" clId="{212202D4-3E17-44EB-9FA4-907557E40392}" dt="2022-11-03T11:32:51.885" v="3057" actId="207"/>
          <ac:spMkLst>
            <pc:docMk/>
            <pc:sldMk cId="3949693503" sldId="1281"/>
            <ac:spMk id="91" creationId="{065BB6E8-8DDE-483B-BAB3-71A5556B2127}"/>
          </ac:spMkLst>
        </pc:spChg>
        <pc:spChg chg="mod">
          <ac:chgData name="Brown, Peter" userId="34fe0430-42e1-4120-9d39-668328cfa1f0" providerId="ADAL" clId="{212202D4-3E17-44EB-9FA4-907557E40392}" dt="2022-11-03T11:32:58.692" v="3058" actId="207"/>
          <ac:spMkLst>
            <pc:docMk/>
            <pc:sldMk cId="3949693503" sldId="1281"/>
            <ac:spMk id="101" creationId="{D4D3038F-0906-48F9-9165-3F5C3BB22384}"/>
          </ac:spMkLst>
        </pc:spChg>
        <pc:spChg chg="mod">
          <ac:chgData name="Brown, Peter" userId="34fe0430-42e1-4120-9d39-668328cfa1f0" providerId="ADAL" clId="{212202D4-3E17-44EB-9FA4-907557E40392}" dt="2022-11-03T11:32:58.692" v="3058" actId="207"/>
          <ac:spMkLst>
            <pc:docMk/>
            <pc:sldMk cId="3949693503" sldId="1281"/>
            <ac:spMk id="102" creationId="{CA4FB23F-4AE4-4676-85B9-E6165252D887}"/>
          </ac:spMkLst>
        </pc:spChg>
        <pc:spChg chg="mod">
          <ac:chgData name="Brown, Peter" userId="34fe0430-42e1-4120-9d39-668328cfa1f0" providerId="ADAL" clId="{212202D4-3E17-44EB-9FA4-907557E40392}" dt="2022-11-03T11:32:58.692" v="3058" actId="207"/>
          <ac:spMkLst>
            <pc:docMk/>
            <pc:sldMk cId="3949693503" sldId="1281"/>
            <ac:spMk id="104" creationId="{4AF27515-FB58-46EE-B235-B0FE632CF926}"/>
          </ac:spMkLst>
        </pc:spChg>
        <pc:spChg chg="mod">
          <ac:chgData name="Brown, Peter" userId="34fe0430-42e1-4120-9d39-668328cfa1f0" providerId="ADAL" clId="{212202D4-3E17-44EB-9FA4-907557E40392}" dt="2022-11-03T11:32:58.692" v="3058" actId="207"/>
          <ac:spMkLst>
            <pc:docMk/>
            <pc:sldMk cId="3949693503" sldId="1281"/>
            <ac:spMk id="105" creationId="{1F24F337-953B-4767-9131-66476BEBBF6F}"/>
          </ac:spMkLst>
        </pc:spChg>
      </pc:sldChg>
      <pc:sldChg chg="addSp delSp modSp add del mod modClrScheme chgLayout">
        <pc:chgData name="Brown, Peter" userId="34fe0430-42e1-4120-9d39-668328cfa1f0" providerId="ADAL" clId="{212202D4-3E17-44EB-9FA4-907557E40392}" dt="2022-11-03T11:35:27.689" v="3069" actId="2696"/>
        <pc:sldMkLst>
          <pc:docMk/>
          <pc:sldMk cId="3990509276" sldId="1331"/>
        </pc:sldMkLst>
        <pc:spChg chg="add mod ord">
          <ac:chgData name="Brown, Peter" userId="34fe0430-42e1-4120-9d39-668328cfa1f0" providerId="ADAL" clId="{212202D4-3E17-44EB-9FA4-907557E40392}" dt="2022-11-03T11:35:13.334" v="3067" actId="700"/>
          <ac:spMkLst>
            <pc:docMk/>
            <pc:sldMk cId="3990509276" sldId="1331"/>
            <ac:spMk id="2" creationId="{00CF1BC6-18FC-6A7B-4216-F387AF617F80}"/>
          </ac:spMkLst>
        </pc:spChg>
        <pc:spChg chg="del mod ord">
          <ac:chgData name="Brown, Peter" userId="34fe0430-42e1-4120-9d39-668328cfa1f0" providerId="ADAL" clId="{212202D4-3E17-44EB-9FA4-907557E40392}" dt="2022-11-03T11:35:17.914" v="3068" actId="478"/>
          <ac:spMkLst>
            <pc:docMk/>
            <pc:sldMk cId="3990509276" sldId="1331"/>
            <ac:spMk id="4" creationId="{911A685E-C3B1-4D47-8977-88CF67F8E60E}"/>
          </ac:spMkLst>
        </pc:spChg>
        <pc:spChg chg="mod ord">
          <ac:chgData name="Brown, Peter" userId="34fe0430-42e1-4120-9d39-668328cfa1f0" providerId="ADAL" clId="{212202D4-3E17-44EB-9FA4-907557E40392}" dt="2022-11-03T11:35:13.334" v="3067" actId="700"/>
          <ac:spMkLst>
            <pc:docMk/>
            <pc:sldMk cId="3990509276" sldId="1331"/>
            <ac:spMk id="9" creationId="{30916218-0FE7-DA40-850A-7231E8C46B1B}"/>
          </ac:spMkLst>
        </pc:spChg>
      </pc:sldChg>
      <pc:sldChg chg="del">
        <pc:chgData name="Brown, Peter" userId="34fe0430-42e1-4120-9d39-668328cfa1f0" providerId="ADAL" clId="{212202D4-3E17-44EB-9FA4-907557E40392}" dt="2022-11-03T10:01:32.083" v="0" actId="47"/>
        <pc:sldMkLst>
          <pc:docMk/>
          <pc:sldMk cId="4085637421" sldId="2144868044"/>
        </pc:sldMkLst>
      </pc:sldChg>
      <pc:sldChg chg="modSp mod">
        <pc:chgData name="Brown, Peter" userId="34fe0430-42e1-4120-9d39-668328cfa1f0" providerId="ADAL" clId="{212202D4-3E17-44EB-9FA4-907557E40392}" dt="2022-11-03T11:16:40.121" v="3007" actId="20577"/>
        <pc:sldMkLst>
          <pc:docMk/>
          <pc:sldMk cId="3504486598" sldId="2144868045"/>
        </pc:sldMkLst>
        <pc:spChg chg="mod">
          <ac:chgData name="Brown, Peter" userId="34fe0430-42e1-4120-9d39-668328cfa1f0" providerId="ADAL" clId="{212202D4-3E17-44EB-9FA4-907557E40392}" dt="2022-11-03T11:16:40.121" v="3007" actId="20577"/>
          <ac:spMkLst>
            <pc:docMk/>
            <pc:sldMk cId="3504486598" sldId="2144868045"/>
            <ac:spMk id="6" creationId="{B50B132A-14BE-BF44-B30C-6FA6FF587889}"/>
          </ac:spMkLst>
        </pc:spChg>
        <pc:spChg chg="mod">
          <ac:chgData name="Brown, Peter" userId="34fe0430-42e1-4120-9d39-668328cfa1f0" providerId="ADAL" clId="{212202D4-3E17-44EB-9FA4-907557E40392}" dt="2022-11-03T10:01:40.739" v="26" actId="20577"/>
          <ac:spMkLst>
            <pc:docMk/>
            <pc:sldMk cId="3504486598" sldId="2144868045"/>
            <ac:spMk id="7" creationId="{66E36216-1D78-534C-81EA-E04BA0CB4291}"/>
          </ac:spMkLst>
        </pc:spChg>
      </pc:sldChg>
      <pc:sldChg chg="del">
        <pc:chgData name="Brown, Peter" userId="34fe0430-42e1-4120-9d39-668328cfa1f0" providerId="ADAL" clId="{212202D4-3E17-44EB-9FA4-907557E40392}" dt="2022-11-03T10:01:57.132" v="66" actId="47"/>
        <pc:sldMkLst>
          <pc:docMk/>
          <pc:sldMk cId="1359866871" sldId="2144868046"/>
        </pc:sldMkLst>
      </pc:sldChg>
      <pc:sldChg chg="del">
        <pc:chgData name="Brown, Peter" userId="34fe0430-42e1-4120-9d39-668328cfa1f0" providerId="ADAL" clId="{212202D4-3E17-44EB-9FA4-907557E40392}" dt="2022-11-03T10:01:59.316" v="67" actId="47"/>
        <pc:sldMkLst>
          <pc:docMk/>
          <pc:sldMk cId="748556700" sldId="2144868047"/>
        </pc:sldMkLst>
      </pc:sldChg>
      <pc:sldChg chg="del">
        <pc:chgData name="Brown, Peter" userId="34fe0430-42e1-4120-9d39-668328cfa1f0" providerId="ADAL" clId="{212202D4-3E17-44EB-9FA4-907557E40392}" dt="2022-11-03T10:02:01.429" v="68" actId="47"/>
        <pc:sldMkLst>
          <pc:docMk/>
          <pc:sldMk cId="4074346527" sldId="2144868048"/>
        </pc:sldMkLst>
      </pc:sldChg>
      <pc:sldChg chg="del">
        <pc:chgData name="Brown, Peter" userId="34fe0430-42e1-4120-9d39-668328cfa1f0" providerId="ADAL" clId="{212202D4-3E17-44EB-9FA4-907557E40392}" dt="2022-11-03T10:02:03.052" v="69" actId="47"/>
        <pc:sldMkLst>
          <pc:docMk/>
          <pc:sldMk cId="1410159631" sldId="2144868049"/>
        </pc:sldMkLst>
      </pc:sldChg>
      <pc:sldChg chg="del">
        <pc:chgData name="Brown, Peter" userId="34fe0430-42e1-4120-9d39-668328cfa1f0" providerId="ADAL" clId="{212202D4-3E17-44EB-9FA4-907557E40392}" dt="2022-11-03T10:02:05.204" v="70" actId="47"/>
        <pc:sldMkLst>
          <pc:docMk/>
          <pc:sldMk cId="1195450013" sldId="2144868050"/>
        </pc:sldMkLst>
      </pc:sldChg>
      <pc:sldChg chg="del">
        <pc:chgData name="Brown, Peter" userId="34fe0430-42e1-4120-9d39-668328cfa1f0" providerId="ADAL" clId="{212202D4-3E17-44EB-9FA4-907557E40392}" dt="2022-11-03T10:02:13.856" v="73" actId="47"/>
        <pc:sldMkLst>
          <pc:docMk/>
          <pc:sldMk cId="1956861323" sldId="2144868051"/>
        </pc:sldMkLst>
      </pc:sldChg>
      <pc:sldChg chg="del">
        <pc:chgData name="Brown, Peter" userId="34fe0430-42e1-4120-9d39-668328cfa1f0" providerId="ADAL" clId="{212202D4-3E17-44EB-9FA4-907557E40392}" dt="2022-11-03T10:02:09.162" v="71" actId="47"/>
        <pc:sldMkLst>
          <pc:docMk/>
          <pc:sldMk cId="3867388781" sldId="2144868052"/>
        </pc:sldMkLst>
      </pc:sldChg>
      <pc:sldChg chg="del">
        <pc:chgData name="Brown, Peter" userId="34fe0430-42e1-4120-9d39-668328cfa1f0" providerId="ADAL" clId="{212202D4-3E17-44EB-9FA4-907557E40392}" dt="2022-11-03T10:02:12.221" v="72" actId="47"/>
        <pc:sldMkLst>
          <pc:docMk/>
          <pc:sldMk cId="2911188762" sldId="2144868053"/>
        </pc:sldMkLst>
      </pc:sldChg>
      <pc:sldChg chg="del">
        <pc:chgData name="Brown, Peter" userId="34fe0430-42e1-4120-9d39-668328cfa1f0" providerId="ADAL" clId="{212202D4-3E17-44EB-9FA4-907557E40392}" dt="2022-11-03T10:02:15.376" v="74" actId="47"/>
        <pc:sldMkLst>
          <pc:docMk/>
          <pc:sldMk cId="3812729345" sldId="2144868054"/>
        </pc:sldMkLst>
      </pc:sldChg>
      <pc:sldChg chg="del">
        <pc:chgData name="Brown, Peter" userId="34fe0430-42e1-4120-9d39-668328cfa1f0" providerId="ADAL" clId="{212202D4-3E17-44EB-9FA4-907557E40392}" dt="2022-11-03T10:02:16.824" v="75" actId="47"/>
        <pc:sldMkLst>
          <pc:docMk/>
          <pc:sldMk cId="3632850307" sldId="2144868055"/>
        </pc:sldMkLst>
      </pc:sldChg>
      <pc:sldChg chg="del">
        <pc:chgData name="Brown, Peter" userId="34fe0430-42e1-4120-9d39-668328cfa1f0" providerId="ADAL" clId="{212202D4-3E17-44EB-9FA4-907557E40392}" dt="2022-11-03T10:02:22.019" v="76" actId="47"/>
        <pc:sldMkLst>
          <pc:docMk/>
          <pc:sldMk cId="1662160255" sldId="2144868058"/>
        </pc:sldMkLst>
      </pc:sldChg>
      <pc:sldChg chg="addSp delSp modSp mod modClrScheme chgLayout">
        <pc:chgData name="Brown, Peter" userId="34fe0430-42e1-4120-9d39-668328cfa1f0" providerId="ADAL" clId="{212202D4-3E17-44EB-9FA4-907557E40392}" dt="2022-11-03T10:03:29.550" v="132" actId="20577"/>
        <pc:sldMkLst>
          <pc:docMk/>
          <pc:sldMk cId="544938540" sldId="2144868075"/>
        </pc:sldMkLst>
        <pc:spChg chg="add mod ord">
          <ac:chgData name="Brown, Peter" userId="34fe0430-42e1-4120-9d39-668328cfa1f0" providerId="ADAL" clId="{212202D4-3E17-44EB-9FA4-907557E40392}" dt="2022-11-03T10:03:29.550" v="132" actId="20577"/>
          <ac:spMkLst>
            <pc:docMk/>
            <pc:sldMk cId="544938540" sldId="2144868075"/>
            <ac:spMk id="2" creationId="{D7A801C4-BEDE-B068-9867-DEDF20B23625}"/>
          </ac:spMkLst>
        </pc:spChg>
        <pc:spChg chg="mod ord">
          <ac:chgData name="Brown, Peter" userId="34fe0430-42e1-4120-9d39-668328cfa1f0" providerId="ADAL" clId="{212202D4-3E17-44EB-9FA4-907557E40392}" dt="2022-11-03T10:03:17.764" v="93" actId="700"/>
          <ac:spMkLst>
            <pc:docMk/>
            <pc:sldMk cId="544938540" sldId="2144868075"/>
            <ac:spMk id="3" creationId="{1A0ADFBB-99DC-8B42-AE9B-8CA46048816F}"/>
          </ac:spMkLst>
        </pc:spChg>
        <pc:spChg chg="del">
          <ac:chgData name="Brown, Peter" userId="34fe0430-42e1-4120-9d39-668328cfa1f0" providerId="ADAL" clId="{212202D4-3E17-44EB-9FA4-907557E40392}" dt="2022-11-03T10:03:17.764" v="93" actId="700"/>
          <ac:spMkLst>
            <pc:docMk/>
            <pc:sldMk cId="544938540" sldId="2144868075"/>
            <ac:spMk id="16" creationId="{7707E30A-36DD-3E4A-AA4F-1AFB09AA1A59}"/>
          </ac:spMkLst>
        </pc:spChg>
        <pc:spChg chg="del mod ord">
          <ac:chgData name="Brown, Peter" userId="34fe0430-42e1-4120-9d39-668328cfa1f0" providerId="ADAL" clId="{212202D4-3E17-44EB-9FA4-907557E40392}" dt="2022-11-03T10:03:17.764" v="93" actId="700"/>
          <ac:spMkLst>
            <pc:docMk/>
            <pc:sldMk cId="544938540" sldId="2144868075"/>
            <ac:spMk id="17" creationId="{D8405E4C-34C3-994E-A166-FE3F16C5EA41}"/>
          </ac:spMkLst>
        </pc:spChg>
      </pc:sldChg>
      <pc:sldChg chg="del">
        <pc:chgData name="Brown, Peter" userId="34fe0430-42e1-4120-9d39-668328cfa1f0" providerId="ADAL" clId="{212202D4-3E17-44EB-9FA4-907557E40392}" dt="2022-11-03T10:02:27.220" v="79" actId="47"/>
        <pc:sldMkLst>
          <pc:docMk/>
          <pc:sldMk cId="901547318" sldId="2144868077"/>
        </pc:sldMkLst>
      </pc:sldChg>
      <pc:sldChg chg="del">
        <pc:chgData name="Brown, Peter" userId="34fe0430-42e1-4120-9d39-668328cfa1f0" providerId="ADAL" clId="{212202D4-3E17-44EB-9FA4-907557E40392}" dt="2022-11-03T10:02:28.709" v="80" actId="47"/>
        <pc:sldMkLst>
          <pc:docMk/>
          <pc:sldMk cId="1872533457" sldId="2144868078"/>
        </pc:sldMkLst>
      </pc:sldChg>
      <pc:sldChg chg="del">
        <pc:chgData name="Brown, Peter" userId="34fe0430-42e1-4120-9d39-668328cfa1f0" providerId="ADAL" clId="{212202D4-3E17-44EB-9FA4-907557E40392}" dt="2022-11-03T10:02:51.581" v="90" actId="47"/>
        <pc:sldMkLst>
          <pc:docMk/>
          <pc:sldMk cId="831006811" sldId="2144868085"/>
        </pc:sldMkLst>
      </pc:sldChg>
      <pc:sldChg chg="del">
        <pc:chgData name="Brown, Peter" userId="34fe0430-42e1-4120-9d39-668328cfa1f0" providerId="ADAL" clId="{212202D4-3E17-44EB-9FA4-907557E40392}" dt="2022-11-03T10:02:51.581" v="90" actId="47"/>
        <pc:sldMkLst>
          <pc:docMk/>
          <pc:sldMk cId="494540320" sldId="2144868086"/>
        </pc:sldMkLst>
      </pc:sldChg>
      <pc:sldChg chg="del">
        <pc:chgData name="Brown, Peter" userId="34fe0430-42e1-4120-9d39-668328cfa1f0" providerId="ADAL" clId="{212202D4-3E17-44EB-9FA4-907557E40392}" dt="2022-11-03T10:02:51.581" v="90" actId="47"/>
        <pc:sldMkLst>
          <pc:docMk/>
          <pc:sldMk cId="1660518991" sldId="2144868087"/>
        </pc:sldMkLst>
      </pc:sldChg>
      <pc:sldChg chg="del">
        <pc:chgData name="Brown, Peter" userId="34fe0430-42e1-4120-9d39-668328cfa1f0" providerId="ADAL" clId="{212202D4-3E17-44EB-9FA4-907557E40392}" dt="2022-11-03T10:02:51.581" v="90" actId="47"/>
        <pc:sldMkLst>
          <pc:docMk/>
          <pc:sldMk cId="1754733660" sldId="2144868088"/>
        </pc:sldMkLst>
      </pc:sldChg>
      <pc:sldChg chg="modSp mod">
        <pc:chgData name="Brown, Peter" userId="34fe0430-42e1-4120-9d39-668328cfa1f0" providerId="ADAL" clId="{212202D4-3E17-44EB-9FA4-907557E40392}" dt="2022-11-03T11:16:21.717" v="2996" actId="20577"/>
        <pc:sldMkLst>
          <pc:docMk/>
          <pc:sldMk cId="1758194549" sldId="2144868107"/>
        </pc:sldMkLst>
        <pc:spChg chg="mod">
          <ac:chgData name="Brown, Peter" userId="34fe0430-42e1-4120-9d39-668328cfa1f0" providerId="ADAL" clId="{212202D4-3E17-44EB-9FA4-907557E40392}" dt="2022-11-03T11:16:21.717" v="2996" actId="20577"/>
          <ac:spMkLst>
            <pc:docMk/>
            <pc:sldMk cId="1758194549" sldId="2144868107"/>
            <ac:spMk id="6" creationId="{56B1D61C-FED9-3447-815F-BED31CB26461}"/>
          </ac:spMkLst>
        </pc:spChg>
      </pc:sldChg>
      <pc:sldChg chg="del">
        <pc:chgData name="Brown, Peter" userId="34fe0430-42e1-4120-9d39-668328cfa1f0" providerId="ADAL" clId="{212202D4-3E17-44EB-9FA4-907557E40392}" dt="2022-11-03T10:02:23.478" v="77" actId="47"/>
        <pc:sldMkLst>
          <pc:docMk/>
          <pc:sldMk cId="3557507388" sldId="2144868108"/>
        </pc:sldMkLst>
      </pc:sldChg>
      <pc:sldChg chg="del">
        <pc:chgData name="Brown, Peter" userId="34fe0430-42e1-4120-9d39-668328cfa1f0" providerId="ADAL" clId="{212202D4-3E17-44EB-9FA4-907557E40392}" dt="2022-11-03T10:02:32.775" v="81" actId="47"/>
        <pc:sldMkLst>
          <pc:docMk/>
          <pc:sldMk cId="3097971523" sldId="2144868109"/>
        </pc:sldMkLst>
      </pc:sldChg>
      <pc:sldChg chg="del">
        <pc:chgData name="Brown, Peter" userId="34fe0430-42e1-4120-9d39-668328cfa1f0" providerId="ADAL" clId="{212202D4-3E17-44EB-9FA4-907557E40392}" dt="2022-11-03T10:02:34.503" v="82" actId="47"/>
        <pc:sldMkLst>
          <pc:docMk/>
          <pc:sldMk cId="3739594424" sldId="2144868110"/>
        </pc:sldMkLst>
      </pc:sldChg>
      <pc:sldChg chg="modSp mod">
        <pc:chgData name="Brown, Peter" userId="34fe0430-42e1-4120-9d39-668328cfa1f0" providerId="ADAL" clId="{212202D4-3E17-44EB-9FA4-907557E40392}" dt="2022-11-03T11:51:04.565" v="3573" actId="207"/>
        <pc:sldMkLst>
          <pc:docMk/>
          <pc:sldMk cId="1734550546" sldId="2144868111"/>
        </pc:sldMkLst>
        <pc:spChg chg="mod">
          <ac:chgData name="Brown, Peter" userId="34fe0430-42e1-4120-9d39-668328cfa1f0" providerId="ADAL" clId="{212202D4-3E17-44EB-9FA4-907557E40392}" dt="2022-11-03T11:50:15.532" v="3486" actId="20577"/>
          <ac:spMkLst>
            <pc:docMk/>
            <pc:sldMk cId="1734550546" sldId="2144868111"/>
            <ac:spMk id="6" creationId="{CF6E6665-A44B-1848-9010-D4C033E60438}"/>
          </ac:spMkLst>
        </pc:spChg>
        <pc:spChg chg="mod">
          <ac:chgData name="Brown, Peter" userId="34fe0430-42e1-4120-9d39-668328cfa1f0" providerId="ADAL" clId="{212202D4-3E17-44EB-9FA4-907557E40392}" dt="2022-11-03T11:51:04.565" v="3573" actId="207"/>
          <ac:spMkLst>
            <pc:docMk/>
            <pc:sldMk cId="1734550546" sldId="2144868111"/>
            <ac:spMk id="7" creationId="{B98DE971-824F-6E49-B92B-87411B5CB027}"/>
          </ac:spMkLst>
        </pc:spChg>
      </pc:sldChg>
      <pc:sldChg chg="addSp modSp new del mod modAnim">
        <pc:chgData name="Brown, Peter" userId="34fe0430-42e1-4120-9d39-668328cfa1f0" providerId="ADAL" clId="{212202D4-3E17-44EB-9FA4-907557E40392}" dt="2022-11-03T11:12:51.350" v="2814" actId="47"/>
        <pc:sldMkLst>
          <pc:docMk/>
          <pc:sldMk cId="2185501507" sldId="2144868112"/>
        </pc:sldMkLst>
        <pc:spChg chg="mod">
          <ac:chgData name="Brown, Peter" userId="34fe0430-42e1-4120-9d39-668328cfa1f0" providerId="ADAL" clId="{212202D4-3E17-44EB-9FA4-907557E40392}" dt="2022-11-03T10:09:51.543" v="423" actId="20577"/>
          <ac:spMkLst>
            <pc:docMk/>
            <pc:sldMk cId="2185501507" sldId="2144868112"/>
            <ac:spMk id="4" creationId="{0B6ABCFC-360D-031A-2D64-0806BCD9F915}"/>
          </ac:spMkLst>
        </pc:spChg>
        <pc:spChg chg="add mod">
          <ac:chgData name="Brown, Peter" userId="34fe0430-42e1-4120-9d39-668328cfa1f0" providerId="ADAL" clId="{212202D4-3E17-44EB-9FA4-907557E40392}" dt="2022-11-03T10:10:22.731" v="497" actId="1036"/>
          <ac:spMkLst>
            <pc:docMk/>
            <pc:sldMk cId="2185501507" sldId="2144868112"/>
            <ac:spMk id="5" creationId="{76534406-944A-4DBC-E55F-3C653B759164}"/>
          </ac:spMkLst>
        </pc:spChg>
        <pc:spChg chg="add mod">
          <ac:chgData name="Brown, Peter" userId="34fe0430-42e1-4120-9d39-668328cfa1f0" providerId="ADAL" clId="{212202D4-3E17-44EB-9FA4-907557E40392}" dt="2022-11-03T10:10:22.731" v="497" actId="1036"/>
          <ac:spMkLst>
            <pc:docMk/>
            <pc:sldMk cId="2185501507" sldId="2144868112"/>
            <ac:spMk id="6" creationId="{EBE4CDDD-A288-A9C4-B8A4-E64C44C1F8E7}"/>
          </ac:spMkLst>
        </pc:spChg>
        <pc:spChg chg="add mod">
          <ac:chgData name="Brown, Peter" userId="34fe0430-42e1-4120-9d39-668328cfa1f0" providerId="ADAL" clId="{212202D4-3E17-44EB-9FA4-907557E40392}" dt="2022-11-03T10:10:22.731" v="497" actId="1036"/>
          <ac:spMkLst>
            <pc:docMk/>
            <pc:sldMk cId="2185501507" sldId="2144868112"/>
            <ac:spMk id="7" creationId="{139FF563-EFEE-8A8E-32AF-D25FF2011892}"/>
          </ac:spMkLst>
        </pc:spChg>
        <pc:spChg chg="add mod">
          <ac:chgData name="Brown, Peter" userId="34fe0430-42e1-4120-9d39-668328cfa1f0" providerId="ADAL" clId="{212202D4-3E17-44EB-9FA4-907557E40392}" dt="2022-11-03T10:10:32.478" v="498" actId="207"/>
          <ac:spMkLst>
            <pc:docMk/>
            <pc:sldMk cId="2185501507" sldId="2144868112"/>
            <ac:spMk id="8" creationId="{664603E5-35B0-0B80-6280-B6F66BF8337D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1" creationId="{4A3554A9-47B1-66DC-3A5C-AD447A665E32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3" creationId="{CB7C28EB-8D8D-7348-0595-C19CBA75628A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4" creationId="{F80A8AC8-0A28-56B0-A993-509BC94ADADA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5" creationId="{A23228B6-3232-CA38-F1FA-6FE6863CD07C}"/>
          </ac:spMkLst>
        </pc:spChg>
        <pc:spChg chg="add mod">
          <ac:chgData name="Brown, Peter" userId="34fe0430-42e1-4120-9d39-668328cfa1f0" providerId="ADAL" clId="{212202D4-3E17-44EB-9FA4-907557E40392}" dt="2022-11-03T10:10:22.731" v="497" actId="1036"/>
          <ac:spMkLst>
            <pc:docMk/>
            <pc:sldMk cId="2185501507" sldId="2144868112"/>
            <ac:spMk id="16" creationId="{82224B08-2F0F-C51F-C273-7ECDC0B357EF}"/>
          </ac:spMkLst>
        </pc:spChg>
        <pc:spChg chg="add mod">
          <ac:chgData name="Brown, Peter" userId="34fe0430-42e1-4120-9d39-668328cfa1f0" providerId="ADAL" clId="{212202D4-3E17-44EB-9FA4-907557E40392}" dt="2022-11-03T10:10:22.731" v="497" actId="1036"/>
          <ac:spMkLst>
            <pc:docMk/>
            <pc:sldMk cId="2185501507" sldId="2144868112"/>
            <ac:spMk id="17" creationId="{D0D2B8F5-5C39-FFBD-F2A5-BDBFC27AE4A1}"/>
          </ac:spMkLst>
        </pc:spChg>
        <pc:spChg chg="add mod">
          <ac:chgData name="Brown, Peter" userId="34fe0430-42e1-4120-9d39-668328cfa1f0" providerId="ADAL" clId="{212202D4-3E17-44EB-9FA4-907557E40392}" dt="2022-11-03T10:10:22.731" v="497" actId="1036"/>
          <ac:spMkLst>
            <pc:docMk/>
            <pc:sldMk cId="2185501507" sldId="2144868112"/>
            <ac:spMk id="18" creationId="{588EDCAF-22B6-FD5A-11A0-5B5C4B762934}"/>
          </ac:spMkLst>
        </pc:spChg>
        <pc:spChg chg="add mod">
          <ac:chgData name="Brown, Peter" userId="34fe0430-42e1-4120-9d39-668328cfa1f0" providerId="ADAL" clId="{212202D4-3E17-44EB-9FA4-907557E40392}" dt="2022-11-03T10:10:22.731" v="497" actId="1036"/>
          <ac:spMkLst>
            <pc:docMk/>
            <pc:sldMk cId="2185501507" sldId="2144868112"/>
            <ac:spMk id="19" creationId="{1067E10A-F377-CF7A-F23D-C8D8192AB91F}"/>
          </ac:spMkLst>
        </pc:spChg>
        <pc:spChg chg="add mod">
          <ac:chgData name="Brown, Peter" userId="34fe0430-42e1-4120-9d39-668328cfa1f0" providerId="ADAL" clId="{212202D4-3E17-44EB-9FA4-907557E40392}" dt="2022-11-03T10:10:22.731" v="497" actId="1036"/>
          <ac:spMkLst>
            <pc:docMk/>
            <pc:sldMk cId="2185501507" sldId="2144868112"/>
            <ac:spMk id="20" creationId="{EA1BE6DE-D7DF-E011-5297-94B593BBB489}"/>
          </ac:spMkLst>
        </pc:spChg>
        <pc:spChg chg="add mod">
          <ac:chgData name="Brown, Peter" userId="34fe0430-42e1-4120-9d39-668328cfa1f0" providerId="ADAL" clId="{212202D4-3E17-44EB-9FA4-907557E40392}" dt="2022-11-03T10:10:22.731" v="497" actId="1036"/>
          <ac:spMkLst>
            <pc:docMk/>
            <pc:sldMk cId="2185501507" sldId="2144868112"/>
            <ac:spMk id="21" creationId="{49054CCF-69DC-869F-90D5-45AC028AF8C0}"/>
          </ac:spMkLst>
        </pc:spChg>
        <pc:spChg chg="add mod">
          <ac:chgData name="Brown, Peter" userId="34fe0430-42e1-4120-9d39-668328cfa1f0" providerId="ADAL" clId="{212202D4-3E17-44EB-9FA4-907557E40392}" dt="2022-11-03T10:10:22.731" v="497" actId="1036"/>
          <ac:spMkLst>
            <pc:docMk/>
            <pc:sldMk cId="2185501507" sldId="2144868112"/>
            <ac:spMk id="22" creationId="{F183A9CC-B976-BA8D-663E-456972F08A8C}"/>
          </ac:spMkLst>
        </pc:spChg>
        <pc:spChg chg="add mod">
          <ac:chgData name="Brown, Peter" userId="34fe0430-42e1-4120-9d39-668328cfa1f0" providerId="ADAL" clId="{212202D4-3E17-44EB-9FA4-907557E40392}" dt="2022-11-03T10:10:22.731" v="497" actId="1036"/>
          <ac:spMkLst>
            <pc:docMk/>
            <pc:sldMk cId="2185501507" sldId="2144868112"/>
            <ac:spMk id="23" creationId="{E78C2A8D-547B-4BAF-DDF4-D34ACDD9FB9C}"/>
          </ac:spMkLst>
        </pc:spChg>
        <pc:spChg chg="add mod">
          <ac:chgData name="Brown, Peter" userId="34fe0430-42e1-4120-9d39-668328cfa1f0" providerId="ADAL" clId="{212202D4-3E17-44EB-9FA4-907557E40392}" dt="2022-11-03T10:10:22.731" v="497" actId="1036"/>
          <ac:spMkLst>
            <pc:docMk/>
            <pc:sldMk cId="2185501507" sldId="2144868112"/>
            <ac:spMk id="24" creationId="{3AD0275D-84F5-423B-CFB6-155DA41F8F8B}"/>
          </ac:spMkLst>
        </pc:spChg>
        <pc:spChg chg="add mod">
          <ac:chgData name="Brown, Peter" userId="34fe0430-42e1-4120-9d39-668328cfa1f0" providerId="ADAL" clId="{212202D4-3E17-44EB-9FA4-907557E40392}" dt="2022-11-03T10:10:22.731" v="497" actId="1036"/>
          <ac:spMkLst>
            <pc:docMk/>
            <pc:sldMk cId="2185501507" sldId="2144868112"/>
            <ac:spMk id="25" creationId="{D0FBDE3A-36B8-1685-DFB4-5CF75D970DEE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27" creationId="{C26E8506-4262-2997-0CF9-DE5CEF921EF8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28" creationId="{296A301A-66B2-8C10-204D-DCE3C5555BD7}"/>
          </ac:spMkLst>
        </pc:spChg>
        <pc:spChg chg="add mod">
          <ac:chgData name="Brown, Peter" userId="34fe0430-42e1-4120-9d39-668328cfa1f0" providerId="ADAL" clId="{212202D4-3E17-44EB-9FA4-907557E40392}" dt="2022-11-03T10:10:42.550" v="501" actId="207"/>
          <ac:spMkLst>
            <pc:docMk/>
            <pc:sldMk cId="2185501507" sldId="2144868112"/>
            <ac:spMk id="29" creationId="{BCBC5E26-E8DD-028A-8321-163278CE1E86}"/>
          </ac:spMkLst>
        </pc:spChg>
        <pc:spChg chg="add mod">
          <ac:chgData name="Brown, Peter" userId="34fe0430-42e1-4120-9d39-668328cfa1f0" providerId="ADAL" clId="{212202D4-3E17-44EB-9FA4-907557E40392}" dt="2022-11-03T10:10:46.257" v="502" actId="207"/>
          <ac:spMkLst>
            <pc:docMk/>
            <pc:sldMk cId="2185501507" sldId="2144868112"/>
            <ac:spMk id="30" creationId="{25A2C168-3A9E-4D89-43DD-E7A3FA524F33}"/>
          </ac:spMkLst>
        </pc:spChg>
        <pc:spChg chg="add mod">
          <ac:chgData name="Brown, Peter" userId="34fe0430-42e1-4120-9d39-668328cfa1f0" providerId="ADAL" clId="{212202D4-3E17-44EB-9FA4-907557E40392}" dt="2022-11-03T10:10:49.619" v="503" actId="207"/>
          <ac:spMkLst>
            <pc:docMk/>
            <pc:sldMk cId="2185501507" sldId="2144868112"/>
            <ac:spMk id="31" creationId="{0A4DCF1D-4D87-297C-5601-4CD7B68BCC46}"/>
          </ac:spMkLst>
        </pc:spChg>
        <pc:spChg chg="add mod">
          <ac:chgData name="Brown, Peter" userId="34fe0430-42e1-4120-9d39-668328cfa1f0" providerId="ADAL" clId="{212202D4-3E17-44EB-9FA4-907557E40392}" dt="2022-11-03T10:10:53.372" v="504" actId="207"/>
          <ac:spMkLst>
            <pc:docMk/>
            <pc:sldMk cId="2185501507" sldId="2144868112"/>
            <ac:spMk id="32" creationId="{ECFB7E6F-627B-A6A9-A99C-A9B56ED183A6}"/>
          </ac:spMkLst>
        </pc:spChg>
        <pc:spChg chg="mod">
          <ac:chgData name="Brown, Peter" userId="34fe0430-42e1-4120-9d39-668328cfa1f0" providerId="ADAL" clId="{212202D4-3E17-44EB-9FA4-907557E40392}" dt="2022-11-03T10:34:48.952" v="1867" actId="1037"/>
          <ac:spMkLst>
            <pc:docMk/>
            <pc:sldMk cId="2185501507" sldId="2144868112"/>
            <ac:spMk id="35" creationId="{2F36E12A-C319-6909-AD17-4DD9F5B263F1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36" creationId="{407CC9BF-F9DB-DA3D-4247-A25E1AB772DF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37" creationId="{68E3D157-B410-2CCC-D3BD-CAB9A7E377DB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39" creationId="{13B2A979-96A4-8108-B37E-C44B4CF870B0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40" creationId="{9E06CD3C-A121-C8F0-1280-F2ECFDB4B6D7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42" creationId="{6DC7BE1F-4828-9028-F267-CD55F5FBAA87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43" creationId="{2028EEFA-48E2-8A24-5F55-1FCC319D0798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45" creationId="{6D669396-33F0-9DFA-0722-B53A03CA6FEA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46" creationId="{9FD2DD9F-799D-13E3-7A57-E9CEAAEB3A38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48" creationId="{8C2F0920-8350-3F92-AE3C-8E6497BB9F57}"/>
          </ac:spMkLst>
        </pc:spChg>
        <pc:spChg chg="mod">
          <ac:chgData name="Brown, Peter" userId="34fe0430-42e1-4120-9d39-668328cfa1f0" providerId="ADAL" clId="{212202D4-3E17-44EB-9FA4-907557E40392}" dt="2022-11-03T10:10:35.688" v="499" actId="207"/>
          <ac:spMkLst>
            <pc:docMk/>
            <pc:sldMk cId="2185501507" sldId="2144868112"/>
            <ac:spMk id="49" creationId="{D8FDACC8-86DC-55B6-9821-BAFE5C561949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51" creationId="{2DCF5984-14ED-1B69-F9DC-91A073C2966B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52" creationId="{62266EF4-AF7A-D51C-3D3B-56B21C529F71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53" creationId="{544EF302-6C50-E177-C58C-614F3001B90C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54" creationId="{F87D2208-823E-2942-31FB-EF7619C68AB7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55" creationId="{3C899408-FE8D-BCA0-486F-758D1F774E2A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56" creationId="{217413E7-70BC-FC0B-A6C6-CA6B0DC777F1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57" creationId="{E36EF09A-C4DB-ECCF-2A50-EAA8843D5542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58" creationId="{E492F074-A46C-E0B0-4021-8C158A87D102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59" creationId="{27E6BF1D-3BAA-E5EA-DC57-BBDD56A6EA33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60" creationId="{4B1AE43F-4421-49E0-BAC5-B440B6B9C4BA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61" creationId="{AB63C016-12D9-98A4-A6C1-56FFE36B30F3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62" creationId="{8BFC020E-07E0-E1AF-B206-FB85C660443F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63" creationId="{722EAFAE-D46E-27CA-E8EC-B5835CAB2B81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64" creationId="{475FAC1A-223C-02A0-CE74-F3C8BAB7001D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65" creationId="{B958E60F-7FD8-549D-9CB8-806891369C41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66" creationId="{1ED3A542-ED2B-A5AF-B583-6E4ABD462A40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68" creationId="{53A6403E-558B-7DBB-66E7-521D073E3E2A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69" creationId="{C82FE5A4-39A3-8179-2C4D-51214BF28A7B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70" creationId="{80579DAE-B087-AFAE-0107-103CDF1E5380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71" creationId="{7962C3D3-7F77-D9CB-55AB-F646BB11BFBB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72" creationId="{36657416-26C2-DA7E-9C51-C28A65302163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73" creationId="{DF23517F-0977-9429-405A-85DE6E7AB61B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74" creationId="{49A3BAAF-D658-9C24-354C-33245559DBAF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75" creationId="{8CF32005-32BA-D6ED-997C-AECECFD49F09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76" creationId="{61079F08-4F48-FFBE-7B5F-50D85D1CE281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77" creationId="{71E1D28B-824A-363F-3D7E-46F8045F0F76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78" creationId="{974AA4B3-4E09-E098-F02C-BD8D70BF05A5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79" creationId="{9E709D4F-BD5E-61E3-E8B9-68D997DE58F7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80" creationId="{65198FFF-D823-A281-BDD0-3CB1EE0B569F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81" creationId="{F374B6C8-31FC-0404-0E1B-CCD3B8A94E77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82" creationId="{5C69C0AE-9E0B-DAD5-B969-CFFF943E2C2B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83" creationId="{AD053809-6DBB-6B51-72DF-0FB485C7EA6F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84" creationId="{3F1FE7EE-8BA6-F080-11C3-6EBCF042140F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85" creationId="{37572F6C-9798-05D1-23E4-0DD52422A645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86" creationId="{42188886-AFE9-38A3-2662-B3FEBF0E1D87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87" creationId="{DF44789D-41B3-54EA-1E9A-8B0D3B362DBC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88" creationId="{93127CF1-F12C-617E-DD3D-9632A619CD65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89" creationId="{40D0D3ED-9E44-823E-508C-A1AED916A2F2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90" creationId="{C975F529-B859-12F7-3771-59BA2F2665D5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91" creationId="{9B78D81B-BD08-88BF-36C4-07CD6F82BDE6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93" creationId="{D928C197-3923-28C1-88E0-0DB07BE8E573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94" creationId="{078AD852-5939-9053-D131-EF1EE9AF4615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95" creationId="{78B172B3-5EB9-3B13-371D-B20F0063A0B8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96" creationId="{B39F8F47-DF44-6FCF-49C4-267DE6B28E56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97" creationId="{7B581A89-9BAE-0710-F7D0-AD6B7F58AF85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98" creationId="{5BC46BE1-2AD2-0074-47A1-3E36D192E54B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99" creationId="{2EBC7CCF-92FF-5B7F-0B73-2F9E052D0171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00" creationId="{96821D60-E4D5-11C8-B20C-4BCF72D047B5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01" creationId="{35E977F5-83BA-150F-A884-ACD88EDE438C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02" creationId="{971D4924-9E9C-4586-0798-E859CDFC0D95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03" creationId="{27792B3D-0DD3-E9A7-79A1-3895F3DFD3B4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04" creationId="{5AEDB0C5-4F66-AA09-D0C5-6A5CF6A744FD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05" creationId="{F42378F4-87A2-4BC0-CE49-7CF0F559600F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06" creationId="{6ECB14E9-6AE4-CE61-8B99-0F0FCF44F754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07" creationId="{A1CFD2C1-1E0B-4537-5855-D222205F9140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08" creationId="{0051A0BB-638F-6C6C-9ADE-9DF179815CD0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09" creationId="{856BED68-AB78-1027-6140-53A9C814EDDD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10" creationId="{9FA22C55-64D9-6072-63E9-CF2FD891C390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11" creationId="{8E5E1CE1-1589-AE58-FAA5-0C7E79B1B093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12" creationId="{CC96F6F0-7898-B795-406C-69F776260C43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13" creationId="{60816909-A2C8-06A8-9664-EE77FD7AA680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14" creationId="{D3233A78-F35A-AE17-1B34-9C964724BA1F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15" creationId="{CE087020-A60F-E619-61AA-48F074E7A9AA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16" creationId="{90C28607-2391-B8AD-151F-9769FAAACA37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17" creationId="{7F0F05D0-6E1E-0ACB-64E7-6903D0F353A0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18" creationId="{8AAC932B-9D7F-DD4B-F578-1483D9CB6DDF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19" creationId="{37BBC990-37C1-DCE9-F625-D89FF74BA9AA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20" creationId="{47F9ADB5-4396-C32B-5CAE-F891C45F7B7B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21" creationId="{5E626960-5FCA-6D41-C3D6-C03B50785AC5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22" creationId="{F89DC9AD-76B2-4699-84BF-58C0101F2C8A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23" creationId="{1C2DF62A-9698-6C12-7AD5-45A00A7B502D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24" creationId="{60CA9039-D0BA-23DD-9C60-5F727BB20B01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25" creationId="{EC9D6819-0834-C767-5458-0431130DE84E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26" creationId="{1FFD8356-5D48-C75A-24DB-1E9210F84226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27" creationId="{44915DBD-1F6B-127F-59E7-7037C039BDA8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30" creationId="{64E346B0-90F6-A6F0-2E75-6083486F8DB9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31" creationId="{ED5CB898-2080-5E7A-A054-7C5FA9771602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32" creationId="{DFC62861-97C2-E6DA-75C7-DF1271AD5DD8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33" creationId="{0D81C87A-6B17-B4FC-60A4-1521D5C72EFC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34" creationId="{31875BCE-93FD-82F7-80C4-32F587D82BD6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35" creationId="{A08A3F80-E7EF-3245-521E-2C669419589C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38" creationId="{F44E86E4-ADC1-F776-4308-C56B8D1A017A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39" creationId="{AD460826-36BA-6D44-A341-6FA0D188D783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40" creationId="{124CA559-15C2-3BCB-1EBC-00758618FEC9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41" creationId="{413C3BF1-6991-06A0-E18E-7FDADABF4C55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42" creationId="{2B67CC7B-CB0A-C3D8-C2CB-E626BDBE707F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43" creationId="{F5C02707-4D59-DD22-A038-ADBDF3EF15D9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44" creationId="{BF12ADAA-0016-79BA-2182-18AC47837227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45" creationId="{2B78EAD7-0A93-089C-0378-CBE75030182B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46" creationId="{E0EA7361-1894-CED2-BFAD-207665D7A093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47" creationId="{BB16B119-CDBD-93CA-F9E7-31B46169CDDC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48" creationId="{6B184BFB-C69E-C5E7-9E56-1CB90E4895D6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49" creationId="{691C93AD-E68A-C74B-8E28-2708CDEEEBFF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50" creationId="{75C82BCC-CEB0-3E25-CA1B-BD2774DBC000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51" creationId="{57A5A0EF-DE10-0A1C-133C-C9812708B715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52" creationId="{061E2836-4918-6973-828D-5304AA2EEC97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53" creationId="{150C19A5-193C-DD80-D554-1D9090077399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54" creationId="{F0146043-C1BC-835F-AE48-1DE1920E5F1C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55" creationId="{F2D81EB7-24FD-9AD7-A8A0-969BF047AF36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56" creationId="{432ADA80-150C-F57C-5268-73617952FEA1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57" creationId="{6A14D399-A669-8BF3-0414-0896FC9D77ED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58" creationId="{99D0E18B-9029-A305-202B-0F9E006066A7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59" creationId="{6428B3CD-6BD4-D89B-27D6-31749ADCB218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60" creationId="{11906507-1204-E398-D1AE-63B5F9CDD5DD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61" creationId="{81773007-129D-8BB3-6DEE-63F8D3C35CCB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62" creationId="{6362FE92-A532-1556-7B77-C04B0169696B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63" creationId="{8781A22A-8B96-F4A4-EF5F-FB6D7E6E8A05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64" creationId="{F2528091-317F-0951-7840-B20705EA1464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65" creationId="{2DE56493-0FA9-6EB1-C103-49F23AC2122E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66" creationId="{833B7ADF-D092-02C4-E332-1AE75B716886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67" creationId="{22D80036-1269-0853-BAB4-E4B61E09CF94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68" creationId="{464491D7-6EC9-BF19-D349-193A2F2AF991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69" creationId="{E69D1508-6494-818D-0345-345EE900BD13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70" creationId="{2F577368-A5D2-6035-B109-57E03A40DBF5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71" creationId="{6C0E863B-B822-456B-F938-E318A200571A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73" creationId="{2A8456CA-791F-4E37-36A4-C96C77AF415C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74" creationId="{B5C68913-2133-4F1A-4196-663FC8802B4D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75" creationId="{98576CEF-A234-505C-8A75-B861E0FDE574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77" creationId="{B3499B56-B3E6-E1AD-90CE-8234E121ABDE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78" creationId="{471A2C00-34D5-FA7D-98CE-98448A1A94CF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79" creationId="{49E21D91-F486-3916-3FC1-7928522B0DBA}"/>
          </ac:spMkLst>
        </pc:spChg>
        <pc:spChg chg="add mod">
          <ac:chgData name="Brown, Peter" userId="34fe0430-42e1-4120-9d39-668328cfa1f0" providerId="ADAL" clId="{212202D4-3E17-44EB-9FA4-907557E40392}" dt="2022-11-03T10:10:22.731" v="497" actId="1036"/>
          <ac:spMkLst>
            <pc:docMk/>
            <pc:sldMk cId="2185501507" sldId="2144868112"/>
            <ac:spMk id="180" creationId="{FEFC35C0-BB2A-498C-D886-831D679A0E35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82" creationId="{846237E0-6554-ECAC-D690-BB40B0705273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83" creationId="{3DD5BBE4-1798-4744-B5DE-FD844985FD85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84" creationId="{74EAD40C-7FD0-47F5-4C46-346078BCFE10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85" creationId="{55812EBC-351B-6859-BB5A-216A7495C98F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86" creationId="{17EDD169-E665-DAF0-1849-078FA4F4F6D5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87" creationId="{0A3B9909-CDBF-3B5F-7DC1-30A99704451F}"/>
          </ac:spMkLst>
        </pc:spChg>
        <pc:spChg chg="mod">
          <ac:chgData name="Brown, Peter" userId="34fe0430-42e1-4120-9d39-668328cfa1f0" providerId="ADAL" clId="{212202D4-3E17-44EB-9FA4-907557E40392}" dt="2022-11-03T10:10:14.786" v="424"/>
          <ac:spMkLst>
            <pc:docMk/>
            <pc:sldMk cId="2185501507" sldId="2144868112"/>
            <ac:spMk id="188" creationId="{820D9460-9B21-F16C-BBE3-D1ADAF562DF0}"/>
          </ac:spMkLst>
        </pc:spChg>
        <pc:spChg chg="add mod">
          <ac:chgData name="Brown, Peter" userId="34fe0430-42e1-4120-9d39-668328cfa1f0" providerId="ADAL" clId="{212202D4-3E17-44EB-9FA4-907557E40392}" dt="2022-11-03T10:10:22.731" v="497" actId="1036"/>
          <ac:spMkLst>
            <pc:docMk/>
            <pc:sldMk cId="2185501507" sldId="2144868112"/>
            <ac:spMk id="189" creationId="{2A96DBEE-7196-63EA-F3ED-DCCB5BBF0FBB}"/>
          </ac:spMkLst>
        </pc:spChg>
        <pc:grpChg chg="add mod">
          <ac:chgData name="Brown, Peter" userId="34fe0430-42e1-4120-9d39-668328cfa1f0" providerId="ADAL" clId="{212202D4-3E17-44EB-9FA4-907557E40392}" dt="2022-11-03T10:10:22.731" v="497" actId="1036"/>
          <ac:grpSpMkLst>
            <pc:docMk/>
            <pc:sldMk cId="2185501507" sldId="2144868112"/>
            <ac:grpSpMk id="9" creationId="{98AC4EC7-E80B-B893-6431-E6C52DBC5E87}"/>
          </ac:grpSpMkLst>
        </pc:grpChg>
        <pc:grpChg chg="mod">
          <ac:chgData name="Brown, Peter" userId="34fe0430-42e1-4120-9d39-668328cfa1f0" providerId="ADAL" clId="{212202D4-3E17-44EB-9FA4-907557E40392}" dt="2022-11-03T10:10:14.786" v="424"/>
          <ac:grpSpMkLst>
            <pc:docMk/>
            <pc:sldMk cId="2185501507" sldId="2144868112"/>
            <ac:grpSpMk id="10" creationId="{117533E7-17C8-17D8-6A78-76A911839090}"/>
          </ac:grpSpMkLst>
        </pc:grpChg>
        <pc:grpChg chg="mod">
          <ac:chgData name="Brown, Peter" userId="34fe0430-42e1-4120-9d39-668328cfa1f0" providerId="ADAL" clId="{212202D4-3E17-44EB-9FA4-907557E40392}" dt="2022-11-03T10:10:14.786" v="424"/>
          <ac:grpSpMkLst>
            <pc:docMk/>
            <pc:sldMk cId="2185501507" sldId="2144868112"/>
            <ac:grpSpMk id="12" creationId="{CB7939EF-C2A4-DAF7-0B4C-0BA99C5EB138}"/>
          </ac:grpSpMkLst>
        </pc:grpChg>
        <pc:grpChg chg="add mod">
          <ac:chgData name="Brown, Peter" userId="34fe0430-42e1-4120-9d39-668328cfa1f0" providerId="ADAL" clId="{212202D4-3E17-44EB-9FA4-907557E40392}" dt="2022-11-03T10:10:22.731" v="497" actId="1036"/>
          <ac:grpSpMkLst>
            <pc:docMk/>
            <pc:sldMk cId="2185501507" sldId="2144868112"/>
            <ac:grpSpMk id="26" creationId="{B450ABF6-EE30-78C0-0074-4CBA79552967}"/>
          </ac:grpSpMkLst>
        </pc:grpChg>
        <pc:grpChg chg="add mod">
          <ac:chgData name="Brown, Peter" userId="34fe0430-42e1-4120-9d39-668328cfa1f0" providerId="ADAL" clId="{212202D4-3E17-44EB-9FA4-907557E40392}" dt="2022-11-03T10:10:22.731" v="497" actId="1036"/>
          <ac:grpSpMkLst>
            <pc:docMk/>
            <pc:sldMk cId="2185501507" sldId="2144868112"/>
            <ac:grpSpMk id="33" creationId="{32C0F309-9EE5-0E69-C141-2E57D7EE105E}"/>
          </ac:grpSpMkLst>
        </pc:grpChg>
        <pc:grpChg chg="mod">
          <ac:chgData name="Brown, Peter" userId="34fe0430-42e1-4120-9d39-668328cfa1f0" providerId="ADAL" clId="{212202D4-3E17-44EB-9FA4-907557E40392}" dt="2022-11-03T10:10:14.786" v="424"/>
          <ac:grpSpMkLst>
            <pc:docMk/>
            <pc:sldMk cId="2185501507" sldId="2144868112"/>
            <ac:grpSpMk id="34" creationId="{B0616A0D-23E4-9852-8557-29A4A8E9C3A6}"/>
          </ac:grpSpMkLst>
        </pc:grpChg>
        <pc:grpChg chg="add mod">
          <ac:chgData name="Brown, Peter" userId="34fe0430-42e1-4120-9d39-668328cfa1f0" providerId="ADAL" clId="{212202D4-3E17-44EB-9FA4-907557E40392}" dt="2022-11-03T10:10:22.731" v="497" actId="1036"/>
          <ac:grpSpMkLst>
            <pc:docMk/>
            <pc:sldMk cId="2185501507" sldId="2144868112"/>
            <ac:grpSpMk id="38" creationId="{4A31F173-06CF-D4ED-BB3F-1137FF8C6D38}"/>
          </ac:grpSpMkLst>
        </pc:grpChg>
        <pc:grpChg chg="add mod">
          <ac:chgData name="Brown, Peter" userId="34fe0430-42e1-4120-9d39-668328cfa1f0" providerId="ADAL" clId="{212202D4-3E17-44EB-9FA4-907557E40392}" dt="2022-11-03T10:10:22.731" v="497" actId="1036"/>
          <ac:grpSpMkLst>
            <pc:docMk/>
            <pc:sldMk cId="2185501507" sldId="2144868112"/>
            <ac:grpSpMk id="41" creationId="{05684006-887B-FC0D-8291-6E76AD01FE96}"/>
          </ac:grpSpMkLst>
        </pc:grpChg>
        <pc:grpChg chg="add mod">
          <ac:chgData name="Brown, Peter" userId="34fe0430-42e1-4120-9d39-668328cfa1f0" providerId="ADAL" clId="{212202D4-3E17-44EB-9FA4-907557E40392}" dt="2022-11-03T10:10:22.731" v="497" actId="1036"/>
          <ac:grpSpMkLst>
            <pc:docMk/>
            <pc:sldMk cId="2185501507" sldId="2144868112"/>
            <ac:grpSpMk id="44" creationId="{B132E7D8-E421-4656-A45F-5DA65A81CCE8}"/>
          </ac:grpSpMkLst>
        </pc:grpChg>
        <pc:grpChg chg="add mod">
          <ac:chgData name="Brown, Peter" userId="34fe0430-42e1-4120-9d39-668328cfa1f0" providerId="ADAL" clId="{212202D4-3E17-44EB-9FA4-907557E40392}" dt="2022-11-03T10:10:22.731" v="497" actId="1036"/>
          <ac:grpSpMkLst>
            <pc:docMk/>
            <pc:sldMk cId="2185501507" sldId="2144868112"/>
            <ac:grpSpMk id="47" creationId="{8837F635-073E-F7E3-33DC-3C7989B2CF2F}"/>
          </ac:grpSpMkLst>
        </pc:grpChg>
        <pc:grpChg chg="add mod">
          <ac:chgData name="Brown, Peter" userId="34fe0430-42e1-4120-9d39-668328cfa1f0" providerId="ADAL" clId="{212202D4-3E17-44EB-9FA4-907557E40392}" dt="2022-11-03T10:10:22.731" v="497" actId="1036"/>
          <ac:grpSpMkLst>
            <pc:docMk/>
            <pc:sldMk cId="2185501507" sldId="2144868112"/>
            <ac:grpSpMk id="50" creationId="{453B0DD9-B6FE-4C99-95EC-A84F0EB3BF36}"/>
          </ac:grpSpMkLst>
        </pc:grpChg>
        <pc:grpChg chg="mod">
          <ac:chgData name="Brown, Peter" userId="34fe0430-42e1-4120-9d39-668328cfa1f0" providerId="ADAL" clId="{212202D4-3E17-44EB-9FA4-907557E40392}" dt="2022-11-03T10:10:14.786" v="424"/>
          <ac:grpSpMkLst>
            <pc:docMk/>
            <pc:sldMk cId="2185501507" sldId="2144868112"/>
            <ac:grpSpMk id="67" creationId="{284C2419-5BEE-13E6-9527-EE2EEAC2CBAB}"/>
          </ac:grpSpMkLst>
        </pc:grpChg>
        <pc:grpChg chg="add mod">
          <ac:chgData name="Brown, Peter" userId="34fe0430-42e1-4120-9d39-668328cfa1f0" providerId="ADAL" clId="{212202D4-3E17-44EB-9FA4-907557E40392}" dt="2022-11-03T10:10:22.731" v="497" actId="1036"/>
          <ac:grpSpMkLst>
            <pc:docMk/>
            <pc:sldMk cId="2185501507" sldId="2144868112"/>
            <ac:grpSpMk id="92" creationId="{FA08AF8D-A6AB-AEEB-46DC-04C79AFEB30D}"/>
          </ac:grpSpMkLst>
        </pc:grpChg>
        <pc:grpChg chg="add mod">
          <ac:chgData name="Brown, Peter" userId="34fe0430-42e1-4120-9d39-668328cfa1f0" providerId="ADAL" clId="{212202D4-3E17-44EB-9FA4-907557E40392}" dt="2022-11-03T10:10:22.731" v="497" actId="1036"/>
          <ac:grpSpMkLst>
            <pc:docMk/>
            <pc:sldMk cId="2185501507" sldId="2144868112"/>
            <ac:grpSpMk id="128" creationId="{16C2FAD9-8F92-F58E-BA65-2DA0FA701F0A}"/>
          </ac:grpSpMkLst>
        </pc:grpChg>
        <pc:grpChg chg="mod">
          <ac:chgData name="Brown, Peter" userId="34fe0430-42e1-4120-9d39-668328cfa1f0" providerId="ADAL" clId="{212202D4-3E17-44EB-9FA4-907557E40392}" dt="2022-11-03T10:10:14.786" v="424"/>
          <ac:grpSpMkLst>
            <pc:docMk/>
            <pc:sldMk cId="2185501507" sldId="2144868112"/>
            <ac:grpSpMk id="129" creationId="{22FABA2A-41E4-5CC2-770F-768B881AE359}"/>
          </ac:grpSpMkLst>
        </pc:grpChg>
        <pc:grpChg chg="mod">
          <ac:chgData name="Brown, Peter" userId="34fe0430-42e1-4120-9d39-668328cfa1f0" providerId="ADAL" clId="{212202D4-3E17-44EB-9FA4-907557E40392}" dt="2022-11-03T10:10:14.786" v="424"/>
          <ac:grpSpMkLst>
            <pc:docMk/>
            <pc:sldMk cId="2185501507" sldId="2144868112"/>
            <ac:grpSpMk id="136" creationId="{0E97BC75-030C-72F4-CC74-043F36E2AD84}"/>
          </ac:grpSpMkLst>
        </pc:grpChg>
        <pc:grpChg chg="add mod">
          <ac:chgData name="Brown, Peter" userId="34fe0430-42e1-4120-9d39-668328cfa1f0" providerId="ADAL" clId="{212202D4-3E17-44EB-9FA4-907557E40392}" dt="2022-11-03T10:10:22.731" v="497" actId="1036"/>
          <ac:grpSpMkLst>
            <pc:docMk/>
            <pc:sldMk cId="2185501507" sldId="2144868112"/>
            <ac:grpSpMk id="172" creationId="{5AB07032-503F-E81A-31F1-1774C0F71C56}"/>
          </ac:grpSpMkLst>
        </pc:grpChg>
        <pc:grpChg chg="mod">
          <ac:chgData name="Brown, Peter" userId="34fe0430-42e1-4120-9d39-668328cfa1f0" providerId="ADAL" clId="{212202D4-3E17-44EB-9FA4-907557E40392}" dt="2022-11-03T10:10:14.786" v="424"/>
          <ac:grpSpMkLst>
            <pc:docMk/>
            <pc:sldMk cId="2185501507" sldId="2144868112"/>
            <ac:grpSpMk id="176" creationId="{E9286FAC-01AA-3855-AE38-A1043CCCACF5}"/>
          </ac:grpSpMkLst>
        </pc:grpChg>
        <pc:grpChg chg="add mod">
          <ac:chgData name="Brown, Peter" userId="34fe0430-42e1-4120-9d39-668328cfa1f0" providerId="ADAL" clId="{212202D4-3E17-44EB-9FA4-907557E40392}" dt="2022-11-03T10:10:22.731" v="497" actId="1036"/>
          <ac:grpSpMkLst>
            <pc:docMk/>
            <pc:sldMk cId="2185501507" sldId="2144868112"/>
            <ac:grpSpMk id="181" creationId="{5F88A951-A716-3B0A-2DE3-041688CA17A4}"/>
          </ac:grpSpMkLst>
        </pc:grpChg>
        <pc:graphicFrameChg chg="mod">
          <ac:chgData name="Brown, Peter" userId="34fe0430-42e1-4120-9d39-668328cfa1f0" providerId="ADAL" clId="{212202D4-3E17-44EB-9FA4-907557E40392}" dt="2022-11-03T10:10:14.786" v="424"/>
          <ac:graphicFrameMkLst>
            <pc:docMk/>
            <pc:sldMk cId="2185501507" sldId="2144868112"/>
            <ac:graphicFrameMk id="137" creationId="{3B50B315-94DF-7807-60CC-5B0FA6388739}"/>
          </ac:graphicFrameMkLst>
        </pc:graphicFrameChg>
      </pc:sldChg>
      <pc:sldChg chg="addSp modSp new mod">
        <pc:chgData name="Brown, Peter" userId="34fe0430-42e1-4120-9d39-668328cfa1f0" providerId="ADAL" clId="{212202D4-3E17-44EB-9FA4-907557E40392}" dt="2022-11-03T10:05:17.491" v="227" actId="20577"/>
        <pc:sldMkLst>
          <pc:docMk/>
          <pc:sldMk cId="1243759893" sldId="2144868113"/>
        </pc:sldMkLst>
        <pc:spChg chg="mod">
          <ac:chgData name="Brown, Peter" userId="34fe0430-42e1-4120-9d39-668328cfa1f0" providerId="ADAL" clId="{212202D4-3E17-44EB-9FA4-907557E40392}" dt="2022-11-03T10:04:40.553" v="167" actId="255"/>
          <ac:spMkLst>
            <pc:docMk/>
            <pc:sldMk cId="1243759893" sldId="2144868113"/>
            <ac:spMk id="3" creationId="{D920C18A-20A2-BC00-12F5-387E6B36B1C3}"/>
          </ac:spMkLst>
        </pc:spChg>
        <pc:spChg chg="mod">
          <ac:chgData name="Brown, Peter" userId="34fe0430-42e1-4120-9d39-668328cfa1f0" providerId="ADAL" clId="{212202D4-3E17-44EB-9FA4-907557E40392}" dt="2022-11-03T10:04:04.899" v="164" actId="20577"/>
          <ac:spMkLst>
            <pc:docMk/>
            <pc:sldMk cId="1243759893" sldId="2144868113"/>
            <ac:spMk id="4" creationId="{6830E38C-B82E-6C45-AB4C-B0133A272784}"/>
          </ac:spMkLst>
        </pc:spChg>
        <pc:spChg chg="add mod">
          <ac:chgData name="Brown, Peter" userId="34fe0430-42e1-4120-9d39-668328cfa1f0" providerId="ADAL" clId="{212202D4-3E17-44EB-9FA4-907557E40392}" dt="2022-11-03T10:05:17.491" v="227" actId="20577"/>
          <ac:spMkLst>
            <pc:docMk/>
            <pc:sldMk cId="1243759893" sldId="2144868113"/>
            <ac:spMk id="5" creationId="{83A0FE96-D201-B1BD-33D4-2606B90CF7E2}"/>
          </ac:spMkLst>
        </pc:spChg>
      </pc:sldChg>
      <pc:sldChg chg="addSp modSp new mod modAnim modNotesTx">
        <pc:chgData name="Brown, Peter" userId="34fe0430-42e1-4120-9d39-668328cfa1f0" providerId="ADAL" clId="{212202D4-3E17-44EB-9FA4-907557E40392}" dt="2022-11-03T10:09:00.053" v="377" actId="207"/>
        <pc:sldMkLst>
          <pc:docMk/>
          <pc:sldMk cId="3801427309" sldId="2144868114"/>
        </pc:sldMkLst>
        <pc:spChg chg="mod">
          <ac:chgData name="Brown, Peter" userId="34fe0430-42e1-4120-9d39-668328cfa1f0" providerId="ADAL" clId="{212202D4-3E17-44EB-9FA4-907557E40392}" dt="2022-11-03T10:06:02.272" v="262" actId="20577"/>
          <ac:spMkLst>
            <pc:docMk/>
            <pc:sldMk cId="3801427309" sldId="2144868114"/>
            <ac:spMk id="4" creationId="{66801B0F-C460-3AA5-AAA4-FEB7EA38FADC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6" creationId="{513700C6-29D4-3743-ECBD-0871BFACD009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7" creationId="{D76D640A-C9B2-A928-D68F-280087AF7693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8" creationId="{67C9DC5B-E602-42E1-6155-B037629ECFA9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9" creationId="{183648E5-0FC2-BA24-FFFB-7FB8216532B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0" creationId="{CB9E3E48-2D3D-5D27-BA6B-B688A38FB43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1" creationId="{7AE4F5C7-B7B8-BA70-B0B8-31B3CFA7CF17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2" creationId="{28510A47-0EFE-2044-F742-AD04B40D48DD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3" creationId="{9C3C7A52-64E3-839C-DE0A-CDD504594AE8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4" creationId="{6140CB0E-95FC-8B50-E88E-8354AC585D0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5" creationId="{A74DA018-F11F-5868-93C4-BCD17536EF50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6" creationId="{163AABA6-A541-CD60-B433-B163B4DC330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7" creationId="{E38CAACC-0829-AA19-B8D0-34B51E2A7391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8" creationId="{40C9B91E-EDF0-14FF-CD35-91D35EE8945F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9" creationId="{0DACD7D7-037A-629C-2DBE-5D4BA70A676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0" creationId="{BD56EB68-CBBE-6BA2-E807-3482E604AAE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1" creationId="{853712D5-9A8F-7112-B8AC-C7DF61FD45B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2" creationId="{B9EFFAF2-B739-1155-E85A-248E042C9A7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3" creationId="{D9EB8CE6-BB9C-297F-BC41-050FB0AFD57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4" creationId="{8998A244-7280-5036-D8AF-1FE4E93854E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5" creationId="{57432B25-A818-13AD-CF08-4870DE87BEC9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6" creationId="{34E30499-768C-825A-9A6B-7B1C484B4BD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7" creationId="{2FA79EA4-F38A-5A04-646B-074C0C812E93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8" creationId="{208D1351-2DA4-8EC8-D3F2-21EF15B1FBB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9" creationId="{AF4966A7-7B22-EEA1-9FFB-68E96D96A59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30" creationId="{88F3922E-CE78-CCCD-6771-043C6FCE988E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31" creationId="{06A5BC62-88C6-246F-FFAF-CDF8B064C58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32" creationId="{4BB6B054-4893-71F1-5E45-C9587EBCA68C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33" creationId="{298FE555-F604-0F23-365B-C8E99E012BE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34" creationId="{E7B5C2EE-AA2B-198B-5E5D-C64D008576EC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35" creationId="{07A258C1-60A1-CFF4-B000-5D2CCEB98EA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36" creationId="{18915305-E323-CEAA-BB53-C1165E72922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37" creationId="{0C9F5313-7894-975C-E63E-25D03505BDF7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38" creationId="{7E3E6ECC-F225-3F4F-4FDE-59FA20B6C3DE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39" creationId="{C5ED12B6-5727-C175-9835-C71ADE1D9A5C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40" creationId="{45F567AD-3A72-2875-7366-BE41B9E9512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41" creationId="{52F1BB1E-02CB-8D2E-44C8-F5B0EC83F005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42" creationId="{7B4B5A8C-684B-F15B-60D2-E4170600332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43" creationId="{F6FCBA69-AFBF-2F7C-6B5C-832E351FC1BF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44" creationId="{D7B02839-99E4-2FD7-7ACF-6E76A4E823AD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45" creationId="{71522E29-74A0-43AD-CA2E-A2EA745D1AA5}"/>
          </ac:spMkLst>
        </pc:spChg>
        <pc:spChg chg="add mod">
          <ac:chgData name="Brown, Peter" userId="34fe0430-42e1-4120-9d39-668328cfa1f0" providerId="ADAL" clId="{212202D4-3E17-44EB-9FA4-907557E40392}" dt="2022-11-03T10:07:46.989" v="353" actId="1038"/>
          <ac:spMkLst>
            <pc:docMk/>
            <pc:sldMk cId="3801427309" sldId="2144868114"/>
            <ac:spMk id="46" creationId="{FE1862D8-930E-8E8C-C5D2-6E312B620B02}"/>
          </ac:spMkLst>
        </pc:spChg>
        <pc:spChg chg="add mod">
          <ac:chgData name="Brown, Peter" userId="34fe0430-42e1-4120-9d39-668328cfa1f0" providerId="ADAL" clId="{212202D4-3E17-44EB-9FA4-907557E40392}" dt="2022-11-03T10:08:18.520" v="366" actId="20577"/>
          <ac:spMkLst>
            <pc:docMk/>
            <pc:sldMk cId="3801427309" sldId="2144868114"/>
            <ac:spMk id="47" creationId="{FBF9AF5D-9848-C38F-49F6-928335B02B4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49" creationId="{6D80159D-4411-669A-99B6-5E68603EDCAD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50" creationId="{03CC21D9-B625-5B58-EA37-4307731A087D}"/>
          </ac:spMkLst>
        </pc:spChg>
        <pc:spChg chg="add mod">
          <ac:chgData name="Brown, Peter" userId="34fe0430-42e1-4120-9d39-668328cfa1f0" providerId="ADAL" clId="{212202D4-3E17-44EB-9FA4-907557E40392}" dt="2022-11-03T10:07:46.989" v="353" actId="1038"/>
          <ac:spMkLst>
            <pc:docMk/>
            <pc:sldMk cId="3801427309" sldId="2144868114"/>
            <ac:spMk id="51" creationId="{580F6F6B-43C7-621E-DF84-B7142AE4CB35}"/>
          </ac:spMkLst>
        </pc:spChg>
        <pc:spChg chg="add mod">
          <ac:chgData name="Brown, Peter" userId="34fe0430-42e1-4120-9d39-668328cfa1f0" providerId="ADAL" clId="{212202D4-3E17-44EB-9FA4-907557E40392}" dt="2022-11-03T10:07:46.989" v="353" actId="1038"/>
          <ac:spMkLst>
            <pc:docMk/>
            <pc:sldMk cId="3801427309" sldId="2144868114"/>
            <ac:spMk id="52" creationId="{F2C32842-32F2-1ECA-E0FD-EF1F63979246}"/>
          </ac:spMkLst>
        </pc:spChg>
        <pc:spChg chg="add mod">
          <ac:chgData name="Brown, Peter" userId="34fe0430-42e1-4120-9d39-668328cfa1f0" providerId="ADAL" clId="{212202D4-3E17-44EB-9FA4-907557E40392}" dt="2022-11-03T10:07:46.989" v="353" actId="1038"/>
          <ac:spMkLst>
            <pc:docMk/>
            <pc:sldMk cId="3801427309" sldId="2144868114"/>
            <ac:spMk id="53" creationId="{F049B3E7-E383-EB66-0B48-6AE2FEC510A0}"/>
          </ac:spMkLst>
        </pc:spChg>
        <pc:spChg chg="add mod">
          <ac:chgData name="Brown, Peter" userId="34fe0430-42e1-4120-9d39-668328cfa1f0" providerId="ADAL" clId="{212202D4-3E17-44EB-9FA4-907557E40392}" dt="2022-11-03T10:07:46.989" v="353" actId="1038"/>
          <ac:spMkLst>
            <pc:docMk/>
            <pc:sldMk cId="3801427309" sldId="2144868114"/>
            <ac:spMk id="54" creationId="{ED5A8E71-37FA-8607-E4CA-9FE2FF64B707}"/>
          </ac:spMkLst>
        </pc:spChg>
        <pc:spChg chg="add mod">
          <ac:chgData name="Brown, Peter" userId="34fe0430-42e1-4120-9d39-668328cfa1f0" providerId="ADAL" clId="{212202D4-3E17-44EB-9FA4-907557E40392}" dt="2022-11-03T10:08:06.151" v="357" actId="207"/>
          <ac:spMkLst>
            <pc:docMk/>
            <pc:sldMk cId="3801427309" sldId="2144868114"/>
            <ac:spMk id="55" creationId="{E0D36E34-074D-63F8-F3A3-E9F1F2B41B08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57" creationId="{FF26329E-4AE0-331D-3489-9AFCF655B422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58" creationId="{19A68E29-F5BE-455B-1B5C-4883ACF83149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59" creationId="{062B330D-E975-DDDA-B9BD-12C43E90E2F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61" creationId="{7AEFCA16-8BE3-60B0-4F5C-B82FA905EC5C}"/>
          </ac:spMkLst>
        </pc:spChg>
        <pc:spChg chg="mod">
          <ac:chgData name="Brown, Peter" userId="34fe0430-42e1-4120-9d39-668328cfa1f0" providerId="ADAL" clId="{212202D4-3E17-44EB-9FA4-907557E40392}" dt="2022-11-03T10:08:52.958" v="375" actId="207"/>
          <ac:spMkLst>
            <pc:docMk/>
            <pc:sldMk cId="3801427309" sldId="2144868114"/>
            <ac:spMk id="62" creationId="{4B553E3B-571E-E7C1-4459-C8D828842BE6}"/>
          </ac:spMkLst>
        </pc:spChg>
        <pc:spChg chg="mod">
          <ac:chgData name="Brown, Peter" userId="34fe0430-42e1-4120-9d39-668328cfa1f0" providerId="ADAL" clId="{212202D4-3E17-44EB-9FA4-907557E40392}" dt="2022-11-03T10:08:49.593" v="374" actId="207"/>
          <ac:spMkLst>
            <pc:docMk/>
            <pc:sldMk cId="3801427309" sldId="2144868114"/>
            <ac:spMk id="63" creationId="{1FBF50C4-B4EF-D815-0CE2-158C2022983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64" creationId="{2715D2B5-76E6-429F-EA13-670FEAE40077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65" creationId="{75EE37D7-8B83-EF1F-631E-ECEBAD5D9B3B}"/>
          </ac:spMkLst>
        </pc:spChg>
        <pc:spChg chg="add mod">
          <ac:chgData name="Brown, Peter" userId="34fe0430-42e1-4120-9d39-668328cfa1f0" providerId="ADAL" clId="{212202D4-3E17-44EB-9FA4-907557E40392}" dt="2022-11-03T10:07:46.989" v="353" actId="1038"/>
          <ac:spMkLst>
            <pc:docMk/>
            <pc:sldMk cId="3801427309" sldId="2144868114"/>
            <ac:spMk id="66" creationId="{8224F206-BF4E-DB28-699B-63D7436C6714}"/>
          </ac:spMkLst>
        </pc:spChg>
        <pc:spChg chg="add mod">
          <ac:chgData name="Brown, Peter" userId="34fe0430-42e1-4120-9d39-668328cfa1f0" providerId="ADAL" clId="{212202D4-3E17-44EB-9FA4-907557E40392}" dt="2022-11-03T10:08:10.163" v="358" actId="207"/>
          <ac:spMkLst>
            <pc:docMk/>
            <pc:sldMk cId="3801427309" sldId="2144868114"/>
            <ac:spMk id="67" creationId="{7841160D-F177-AE19-DE3C-3A1AB82D4DE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69" creationId="{81F0A042-A6BD-7F7E-D162-BA577E4CFF82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70" creationId="{5986D6E5-6F1A-138C-27E1-B3A0E1C72683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71" creationId="{E877C170-39C0-165C-A280-109BC04C243E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72" creationId="{FC3FD1E7-54FD-6745-3846-61055896271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73" creationId="{FDD3134E-8703-B365-531C-29A118AC2B1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74" creationId="{FF10C724-7913-BCE3-2A25-1509E12E4E77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75" creationId="{F8C6C1C0-BFAC-8654-6729-7A7B4D22E64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76" creationId="{A4BEB2BC-E2F2-6D9A-CC6D-6A30217AC85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77" creationId="{4D6908B4-D287-388B-2944-9005D56B1730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78" creationId="{65F18224-649A-D363-E758-E96EFF319422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79" creationId="{EDB21FFB-D812-ABE1-A55B-1F83CAD06A22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80" creationId="{EC98DC09-E933-8C0A-8109-0D0240E4A26E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81" creationId="{A9F2A390-734B-1934-898E-E419AC56F08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82" creationId="{9E295A1E-9265-C608-5A8A-69FB470E1B69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83" creationId="{CBC7B75F-347A-FE09-6D67-AE6FA22FA4CD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84" creationId="{5829C7F8-C1F3-C3BD-1FBB-49BB08C15A1D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85" creationId="{A4CAE637-7485-1E28-3EFE-696B5E071A80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86" creationId="{30B94780-6C92-E26A-80B5-0B400256C47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87" creationId="{AA01B35E-06BC-CF09-37DD-BF7539912DF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88" creationId="{C77400EE-C0F3-5143-EAFB-D8B0FE3D819C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89" creationId="{016060FB-3D66-BD26-C4CE-D5C9D935F590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90" creationId="{E20CB3B1-AEB8-3713-FA5F-EDCC6D8D6F8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91" creationId="{E32E5E27-BE43-C633-31E8-65CF908C7220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92" creationId="{35F5FEC4-C489-91BC-BA54-C6655D18FFD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93" creationId="{30BBCC93-6D38-18C0-0226-A47F0892769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94" creationId="{73FDCADD-9D6B-90CC-57FB-C35CC36EA925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95" creationId="{D856BC6B-CB84-BF70-4470-1A7890CA0A7E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96" creationId="{DBFAE81E-C501-C3BB-9CB0-5A850F9F59AC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97" creationId="{7CBB7834-105F-5AF5-4D61-0698D3C1140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98" creationId="{C8887BEC-077E-4F42-4B61-92208021FCC8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99" creationId="{0B82314E-317A-AF14-1AB0-FDD13E6398F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00" creationId="{F8A33D59-9743-ACF7-9B52-32BDE19E1395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01" creationId="{14C80717-2882-1C66-DFB8-110B19A598AD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02" creationId="{72140DD1-4AD2-34D7-88B2-0B488455829A}"/>
          </ac:spMkLst>
        </pc:spChg>
        <pc:spChg chg="add mod">
          <ac:chgData name="Brown, Peter" userId="34fe0430-42e1-4120-9d39-668328cfa1f0" providerId="ADAL" clId="{212202D4-3E17-44EB-9FA4-907557E40392}" dt="2022-11-03T10:08:56.597" v="376" actId="207"/>
          <ac:spMkLst>
            <pc:docMk/>
            <pc:sldMk cId="3801427309" sldId="2144868114"/>
            <ac:spMk id="103" creationId="{3C70500A-0126-4B58-F5ED-F0880A9E8BD6}"/>
          </ac:spMkLst>
        </pc:spChg>
        <pc:spChg chg="add mod">
          <ac:chgData name="Brown, Peter" userId="34fe0430-42e1-4120-9d39-668328cfa1f0" providerId="ADAL" clId="{212202D4-3E17-44EB-9FA4-907557E40392}" dt="2022-11-03T10:07:46.989" v="353" actId="1038"/>
          <ac:spMkLst>
            <pc:docMk/>
            <pc:sldMk cId="3801427309" sldId="2144868114"/>
            <ac:spMk id="104" creationId="{255A7DC2-274D-E451-133B-C52967C0AA25}"/>
          </ac:spMkLst>
        </pc:spChg>
        <pc:spChg chg="add mod">
          <ac:chgData name="Brown, Peter" userId="34fe0430-42e1-4120-9d39-668328cfa1f0" providerId="ADAL" clId="{212202D4-3E17-44EB-9FA4-907557E40392}" dt="2022-11-03T10:07:46.989" v="353" actId="1038"/>
          <ac:spMkLst>
            <pc:docMk/>
            <pc:sldMk cId="3801427309" sldId="2144868114"/>
            <ac:spMk id="105" creationId="{4DFF26A2-C77C-F539-3E9B-6F572EDE9F18}"/>
          </ac:spMkLst>
        </pc:spChg>
        <pc:spChg chg="add mod">
          <ac:chgData name="Brown, Peter" userId="34fe0430-42e1-4120-9d39-668328cfa1f0" providerId="ADAL" clId="{212202D4-3E17-44EB-9FA4-907557E40392}" dt="2022-11-03T10:07:46.989" v="353" actId="1038"/>
          <ac:spMkLst>
            <pc:docMk/>
            <pc:sldMk cId="3801427309" sldId="2144868114"/>
            <ac:spMk id="106" creationId="{2D0B7291-7703-F660-08A0-123E6B2246DE}"/>
          </ac:spMkLst>
        </pc:spChg>
        <pc:spChg chg="add mod">
          <ac:chgData name="Brown, Peter" userId="34fe0430-42e1-4120-9d39-668328cfa1f0" providerId="ADAL" clId="{212202D4-3E17-44EB-9FA4-907557E40392}" dt="2022-11-03T10:09:00.053" v="377" actId="207"/>
          <ac:spMkLst>
            <pc:docMk/>
            <pc:sldMk cId="3801427309" sldId="2144868114"/>
            <ac:spMk id="107" creationId="{EDB3E49C-7A83-A912-A17B-A00BC68127ED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09" creationId="{96673AD4-F102-5AE9-6CC3-DD81B06C6468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10" creationId="{450FF7BA-61B3-883D-884D-DE17DF782972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11" creationId="{BE769DD1-3E33-27D0-B941-3618E9904EBE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12" creationId="{79DC115F-4C9E-AB60-BD48-57E9F0F3300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13" creationId="{40A395DD-A211-1885-E361-C1ACDFEFACE5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14" creationId="{78491A97-7D5C-61F4-4A4E-248358209BE7}"/>
          </ac:spMkLst>
        </pc:spChg>
        <pc:spChg chg="mod">
          <ac:chgData name="Brown, Peter" userId="34fe0430-42e1-4120-9d39-668328cfa1f0" providerId="ADAL" clId="{212202D4-3E17-44EB-9FA4-907557E40392}" dt="2022-11-03T10:08:42.073" v="372" actId="207"/>
          <ac:spMkLst>
            <pc:docMk/>
            <pc:sldMk cId="3801427309" sldId="2144868114"/>
            <ac:spMk id="115" creationId="{0FD1DC48-C3D7-750D-97A8-D263DB08879C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16" creationId="{D40140C5-2DFB-AD43-8C73-C0B8552E9E7C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19" creationId="{F6FAC521-1587-AEA6-D5EA-E5260F07E37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21" creationId="{2BCDDB1C-C6D5-17C2-699D-79740F59EDEE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23" creationId="{A8775E63-7B29-2D7E-0A82-F20EBC6FC51D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24" creationId="{A56D9AAD-D704-105F-7C9B-826912C2D66C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25" creationId="{8597EC2F-C546-F00B-6D17-9EAC3A1CA9B3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26" creationId="{E985F6D7-A548-D6C9-26E1-F46F654193B3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27" creationId="{AFA722FC-3557-545A-3F93-1F5CD0DF0EB9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28" creationId="{2DC6DB1B-F160-6A77-151B-4A7A33480EF2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29" creationId="{2F8C7FAB-3E2F-0D22-B912-5E923B0C7790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30" creationId="{C3E64575-EA5B-9809-7F39-381E5CD7DD7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31" creationId="{EFB33236-FC1F-4A1F-289F-7F884735458D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32" creationId="{E116321B-51AB-72F3-0C06-CDD5F22FBBB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33" creationId="{B666E71A-726B-469F-F677-2CCDF774968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34" creationId="{50AB8FE4-62CC-F13C-9959-A1BFE6433327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35" creationId="{0F747FC6-F5DF-8EF8-2EBC-4D35B84B88A7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36" creationId="{2C08DFDA-ABC1-120A-36EA-03800053ED4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37" creationId="{DDFD328A-30C2-178E-EB3A-FAED17277EF8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38" creationId="{DD152BFE-5FF8-F993-8674-5E4ADA0FA4F8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39" creationId="{00D816D1-66BC-2D5F-BC41-8783ECB7EA9D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40" creationId="{A0A26F30-F408-9459-1F2C-51F9016DCAB3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41" creationId="{E36BDA17-F286-B5B7-9692-68C1FDB12411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42" creationId="{4325D9DE-21DD-3654-4055-5913E429B7F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43" creationId="{9333685E-746C-9D96-0656-C3C3C491237F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44" creationId="{DD7030BB-58E3-C353-A281-7EEDA5FF3940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45" creationId="{A3AD575E-19C0-CD3A-1773-8156AEE25237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46" creationId="{EE3A4FFB-8BEB-28D7-3CB9-74D47D0AC088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47" creationId="{7975F835-AA8F-7095-0E6A-2BE0BDE59ADD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48" creationId="{1598DA05-A38C-0E3A-14B9-21F067DE0155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49" creationId="{B17A4629-8BD3-1559-876D-67166D06182E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50" creationId="{004F5FAF-88AB-53EE-F48B-EFC5D230A5C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51" creationId="{29080E80-CAAD-5768-9706-305493DEE61E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52" creationId="{9B4970C7-6D82-EFF8-B218-96B41D8A8C3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53" creationId="{64FAAACE-2C2C-450C-C8DD-97BD7A3F73EE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54" creationId="{D8848E4A-2E49-B089-837A-DD95B83D6029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55" creationId="{30E165DB-0C1C-EF9F-D18E-6F8D012DF3E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56" creationId="{2A74C2FC-0660-E7C2-2F19-80EAF4B4CBC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57" creationId="{B45CBFC5-1A2A-EA82-51FA-86C3853C59CC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58" creationId="{17AAC813-0351-ECDD-0F24-4F6D8DFA106F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59" creationId="{80ABC6AD-5DA8-B639-C654-200A84C25AA0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60" creationId="{852FA6CB-3D1D-CB9B-BBAE-F1189E2947B3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61" creationId="{01F2B423-3FEA-2176-0A3D-B2A661719D0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62" creationId="{A82B292A-078F-EBC8-2D0A-387A5C6E25DE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63" creationId="{0634B846-0CB1-CB43-9DF7-E2D92AF5AB7C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64" creationId="{437AC081-AF38-B4D8-8843-7644323D9961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65" creationId="{631FC749-327F-1EFE-7DCB-BE0B25AA174F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66" creationId="{F429FB2D-9559-DAF9-1999-0B1147F6B4C0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67" creationId="{3B7E84DB-406B-8772-11A1-5101814F1398}"/>
          </ac:spMkLst>
        </pc:spChg>
        <pc:spChg chg="mod">
          <ac:chgData name="Brown, Peter" userId="34fe0430-42e1-4120-9d39-668328cfa1f0" providerId="ADAL" clId="{212202D4-3E17-44EB-9FA4-907557E40392}" dt="2022-11-03T10:07:54.448" v="354" actId="207"/>
          <ac:spMkLst>
            <pc:docMk/>
            <pc:sldMk cId="3801427309" sldId="2144868114"/>
            <ac:spMk id="168" creationId="{246D15E8-7777-B156-FE1F-99DFE7CBCCD0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69" creationId="{074E689A-C091-E143-E9A2-78882E34F2C1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70" creationId="{997DDA7D-784A-8C5A-A5BA-38BBC14280FE}"/>
          </ac:spMkLst>
        </pc:spChg>
        <pc:spChg chg="mod">
          <ac:chgData name="Brown, Peter" userId="34fe0430-42e1-4120-9d39-668328cfa1f0" providerId="ADAL" clId="{212202D4-3E17-44EB-9FA4-907557E40392}" dt="2022-11-03T10:07:57.802" v="355" actId="207"/>
          <ac:spMkLst>
            <pc:docMk/>
            <pc:sldMk cId="3801427309" sldId="2144868114"/>
            <ac:spMk id="171" creationId="{E3E7398E-1C65-31AE-CFF2-63B15317AD0F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72" creationId="{52475129-2144-AB48-45F6-20CAA7CBE272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73" creationId="{77DF1689-D7E2-D8C6-CF1E-392FD81F7E42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75" creationId="{AE8A1DAC-D173-3D38-9E0A-DD4FDC6D3173}"/>
          </ac:spMkLst>
        </pc:spChg>
        <pc:spChg chg="mod">
          <ac:chgData name="Brown, Peter" userId="34fe0430-42e1-4120-9d39-668328cfa1f0" providerId="ADAL" clId="{212202D4-3E17-44EB-9FA4-907557E40392}" dt="2022-11-03T10:08:01.117" v="356" actId="207"/>
          <ac:spMkLst>
            <pc:docMk/>
            <pc:sldMk cId="3801427309" sldId="2144868114"/>
            <ac:spMk id="176" creationId="{6456251A-94C6-18E7-56A4-D15C8B40816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78" creationId="{E4B980DB-30C9-117E-F167-AFBCF99F77F8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80" creationId="{7602D9BE-5961-6E87-C171-1E71A4CD3151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82" creationId="{35D9561B-3F75-F52D-BD06-479D2415A767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84" creationId="{21A9C56A-BA99-FA2E-83A1-EE2B927CAA69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85" creationId="{249E120A-6DCD-9EA7-4BA5-13C77D3DE7B1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86" creationId="{7EEB11C5-7BCA-7999-B380-C3E843190B05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88" creationId="{48402CA2-C4BA-E4B0-6E46-0D6C0ED746FE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89" creationId="{0CD8E63F-1853-A36C-775A-1EF2D8C1E59D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90" creationId="{CCDAC0CF-FFA3-B4E4-AD9A-AFC7B934766C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92" creationId="{3ED06E8F-92A1-4A5C-CBD4-DA38A0B8BF90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93" creationId="{28C99DB6-BE72-9583-BDA4-A8BD87C27A99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94" creationId="{A92FD614-5269-1429-2CD7-C5A1868BA07C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95" creationId="{BAB12283-E1AD-211C-5D4B-2FBECC773D41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96" creationId="{9DB2A87D-E4F2-D43E-486D-0D66C20B1473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97" creationId="{C9366C3D-EAE9-29CC-6CE1-30F56090685D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98" creationId="{56F2F82B-2E3D-B61B-D6BB-F0A79E1BE365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199" creationId="{6236C488-56BA-4BE8-C071-19D1FEE16411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00" creationId="{793B668F-D21C-BFB4-EF88-36CA347127E1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01" creationId="{C3518C5E-85F2-1A22-CEE9-E7D7AA0A18B2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02" creationId="{6E0A1B39-62E0-6700-41F9-4D598FF6B7F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03" creationId="{AA45F46B-5137-65AC-221F-13AB63BEE3CF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04" creationId="{16D86CD6-E8E4-64E0-84CC-B1A160DB8033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05" creationId="{0D80AE9D-F345-3C5A-EA86-06739C7EA3D3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06" creationId="{E3AACB51-7893-C426-306A-12AD71C951D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07" creationId="{A81D12DE-E4C2-FA68-2F5E-30B943D37C83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08" creationId="{A41D42CB-4505-A8D9-7132-DED372AB0F52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09" creationId="{4656005A-1B57-5BB6-95AB-5A52207D169D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10" creationId="{B9EAEB82-FDE6-F969-34C1-8F4081615F63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11" creationId="{AF80A311-7BE8-E523-5C94-970530EC647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12" creationId="{3DA5F47D-4957-733C-250B-4A2D9B487E7E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13" creationId="{F033EA30-9663-CFF1-1C18-66D3204080F1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14" creationId="{66009FD9-8064-F5B6-A195-9054E8A3B991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15" creationId="{5F397A62-43ED-15B4-214F-3BEACB0AF222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16" creationId="{94A014C9-DD75-64FB-CDE0-E01848F82D22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17" creationId="{0E72916B-D063-589B-05D4-26EE734F6EA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18" creationId="{31759E2F-E4E6-932D-A568-C736F099003D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19" creationId="{15627EE6-3BD8-7847-2959-79212A69D507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20" creationId="{966016B2-3C82-8D9C-48DD-71D6E5C55645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21" creationId="{5CC3C98E-9EDD-15FD-F413-F60B674C40E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22" creationId="{0C359D31-4086-9CAA-E6E4-6052FAFC439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23" creationId="{AA92ED42-4A90-0939-DEA7-CCFBC97918B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24" creationId="{7FAF62B3-D34A-DD45-CAED-D7072B8018D3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25" creationId="{2B75CC42-E5A2-C6EA-1FC6-0DF978201698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26" creationId="{79DA81DF-7639-ABA0-E112-E68E3D402E85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27" creationId="{700B7A2A-91D6-0635-3694-AE15C5BEE09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28" creationId="{5271EBE5-83C2-C305-370C-20AE64A61AC0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29" creationId="{5032BD5D-8EA2-F5EB-67BD-FD3F41018D43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30" creationId="{2DADE409-BA05-EB49-EE97-313259582B32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31" creationId="{089A5344-7D93-9892-4EE0-73C750AFCB2E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32" creationId="{8A789F06-99CC-5894-33B4-2FDDFAE45FE0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33" creationId="{844E1985-1C86-6634-6532-58E2B7A6AF3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34" creationId="{39D6E739-F5B5-7119-12A0-4B336C81F203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35" creationId="{C1CE0D60-D8FC-5652-C0C5-0B89E10CDA3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36" creationId="{CB4E29EA-7F8F-A559-E255-8A23DC6BB93E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37" creationId="{A2CDABB9-0374-AC1B-58E9-5A1234B51DC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38" creationId="{74B8DF98-37C9-5D24-CE2E-89AB01E4C2BF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39" creationId="{171A6DF3-8796-4842-F971-B688410B0F5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40" creationId="{365FC163-8BB2-1489-AC32-A360AD810CE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41" creationId="{7D52C60F-DB1B-7C28-AC8E-69573838A011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42" creationId="{CF07A4B5-718C-DFE6-1718-54F5B4F244B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43" creationId="{CAA72765-1A75-D8F5-8665-0EDE915E0383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44" creationId="{8CD0FDCD-E28D-431A-B69A-1EF8B74C2CEC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45" creationId="{E8392CCA-D4F2-B62B-7C22-1F8EC675C620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46" creationId="{4B227282-2DAF-F66A-42F5-2D80539630D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47" creationId="{9AE85FC7-E90B-D736-5489-F6B359C5BDF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48" creationId="{604B47E8-F376-732D-E2FF-A2FB1413F087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49" creationId="{EA9D5626-322F-A556-5087-026BCDC99C91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50" creationId="{C35A376D-D1D6-FA8B-2E98-562F025867D8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51" creationId="{E0794E64-1C72-7BDE-06B5-8AF98753D8E2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52" creationId="{9E5824C5-8D5B-8E6A-9536-887EF8C6EC6C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53" creationId="{24E3441A-A24A-B1F9-5D34-30EF6825497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54" creationId="{F465C1C2-C021-24EA-A0DA-200B1DD1267F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55" creationId="{A3A7CC1E-130F-2675-E8C0-E50A1C24EB89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56" creationId="{844EC74C-AF97-2F9E-C59E-476BE22E8AF2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57" creationId="{43524FE2-F4A6-5D0E-7009-196650E703C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58" creationId="{801408E3-2802-F1E2-4DCC-F8DC71AFD2D1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59" creationId="{E5508F31-DD07-7C39-AD09-D852AC2E1BD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60" creationId="{723BE49D-8A48-61AD-E5F4-23224A2F87B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61" creationId="{4B7B1DF8-A3D1-9343-82FC-C83E6AC869E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62" creationId="{2695FF46-BEDC-2030-E6A3-E0FB81CA7187}"/>
          </ac:spMkLst>
        </pc:spChg>
        <pc:spChg chg="mod">
          <ac:chgData name="Brown, Peter" userId="34fe0430-42e1-4120-9d39-668328cfa1f0" providerId="ADAL" clId="{212202D4-3E17-44EB-9FA4-907557E40392}" dt="2022-11-03T10:08:34.974" v="370" actId="207"/>
          <ac:spMkLst>
            <pc:docMk/>
            <pc:sldMk cId="3801427309" sldId="2144868114"/>
            <ac:spMk id="264" creationId="{1FE03E7D-7501-ADDB-911A-7A7B19EC501B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65" creationId="{72A65847-4B65-81EF-32CE-92ED18D9113C}"/>
          </ac:spMkLst>
        </pc:spChg>
        <pc:spChg chg="mod">
          <ac:chgData name="Brown, Peter" userId="34fe0430-42e1-4120-9d39-668328cfa1f0" providerId="ADAL" clId="{212202D4-3E17-44EB-9FA4-907557E40392}" dt="2022-11-03T10:08:24.153" v="367" actId="207"/>
          <ac:spMkLst>
            <pc:docMk/>
            <pc:sldMk cId="3801427309" sldId="2144868114"/>
            <ac:spMk id="266" creationId="{CF3F4FE6-8CC8-75CE-63AD-392D9DE717D8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67" creationId="{98A63B4B-E5FB-8DFA-9B35-EC034035E292}"/>
          </ac:spMkLst>
        </pc:spChg>
        <pc:spChg chg="mod">
          <ac:chgData name="Brown, Peter" userId="34fe0430-42e1-4120-9d39-668328cfa1f0" providerId="ADAL" clId="{212202D4-3E17-44EB-9FA4-907557E40392}" dt="2022-11-03T10:08:27.906" v="368" actId="207"/>
          <ac:spMkLst>
            <pc:docMk/>
            <pc:sldMk cId="3801427309" sldId="2144868114"/>
            <ac:spMk id="268" creationId="{0D173C36-343D-2396-55A9-8CC90B64E58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69" creationId="{16EDD035-1842-6CB1-50A7-BA54C94D26E9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70" creationId="{C32668A2-44D8-1E16-8685-3F69BF0C7CE3}"/>
          </ac:spMkLst>
        </pc:spChg>
        <pc:spChg chg="add mod">
          <ac:chgData name="Brown, Peter" userId="34fe0430-42e1-4120-9d39-668328cfa1f0" providerId="ADAL" clId="{212202D4-3E17-44EB-9FA4-907557E40392}" dt="2022-11-03T10:08:31.551" v="369" actId="207"/>
          <ac:spMkLst>
            <pc:docMk/>
            <pc:sldMk cId="3801427309" sldId="2144868114"/>
            <ac:spMk id="272" creationId="{C0BD0406-2D56-3DB6-6407-7C15AB39DAF8}"/>
          </ac:spMkLst>
        </pc:spChg>
        <pc:spChg chg="add mod">
          <ac:chgData name="Brown, Peter" userId="34fe0430-42e1-4120-9d39-668328cfa1f0" providerId="ADAL" clId="{212202D4-3E17-44EB-9FA4-907557E40392}" dt="2022-11-03T10:07:46.989" v="353" actId="1038"/>
          <ac:spMkLst>
            <pc:docMk/>
            <pc:sldMk cId="3801427309" sldId="2144868114"/>
            <ac:spMk id="273" creationId="{992737F1-8A76-6B94-5C17-F42A3DB13D33}"/>
          </ac:spMkLst>
        </pc:spChg>
        <pc:spChg chg="add mod">
          <ac:chgData name="Brown, Peter" userId="34fe0430-42e1-4120-9d39-668328cfa1f0" providerId="ADAL" clId="{212202D4-3E17-44EB-9FA4-907557E40392}" dt="2022-11-03T10:07:46.989" v="353" actId="1038"/>
          <ac:spMkLst>
            <pc:docMk/>
            <pc:sldMk cId="3801427309" sldId="2144868114"/>
            <ac:spMk id="274" creationId="{C34CEB7A-AB92-1063-D3D2-4567F5FCAFE6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76" creationId="{ED22C92B-E9E7-95B0-39FC-85A78F6B252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77" creationId="{0868FCD2-A36B-8BFB-9760-E2608F70E38A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78" creationId="{E4E83685-D998-B823-A80F-DA6C39E8A891}"/>
          </ac:spMkLst>
        </pc:spChg>
        <pc:spChg chg="mod">
          <ac:chgData name="Brown, Peter" userId="34fe0430-42e1-4120-9d39-668328cfa1f0" providerId="ADAL" clId="{212202D4-3E17-44EB-9FA4-907557E40392}" dt="2022-11-03T10:08:38.348" v="371" actId="207"/>
          <ac:spMkLst>
            <pc:docMk/>
            <pc:sldMk cId="3801427309" sldId="2144868114"/>
            <ac:spMk id="279" creationId="{95395C4D-F028-A535-2BF6-11261B4D33E7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82" creationId="{A9EF52A9-75C3-A60C-811A-356F5AB61BC9}"/>
          </ac:spMkLst>
        </pc:spChg>
        <pc:spChg chg="mod">
          <ac:chgData name="Brown, Peter" userId="34fe0430-42e1-4120-9d39-668328cfa1f0" providerId="ADAL" clId="{212202D4-3E17-44EB-9FA4-907557E40392}" dt="2022-11-03T10:08:45.743" v="373" actId="207"/>
          <ac:spMkLst>
            <pc:docMk/>
            <pc:sldMk cId="3801427309" sldId="2144868114"/>
            <ac:spMk id="283" creationId="{378DC05F-2005-82D4-C931-461CE2CF4654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84" creationId="{08280D72-19A6-92C3-CD0D-C71969E42E2E}"/>
          </ac:spMkLst>
        </pc:spChg>
        <pc:spChg chg="mod">
          <ac:chgData name="Brown, Peter" userId="34fe0430-42e1-4120-9d39-668328cfa1f0" providerId="ADAL" clId="{212202D4-3E17-44EB-9FA4-907557E40392}" dt="2022-11-03T10:07:38.872" v="289"/>
          <ac:spMkLst>
            <pc:docMk/>
            <pc:sldMk cId="3801427309" sldId="2144868114"/>
            <ac:spMk id="285" creationId="{DFEB1F9F-0653-CB86-30B0-9FDB39C4C742}"/>
          </ac:spMkLst>
        </pc:spChg>
        <pc:grpChg chg="add mod">
          <ac:chgData name="Brown, Peter" userId="34fe0430-42e1-4120-9d39-668328cfa1f0" providerId="ADAL" clId="{212202D4-3E17-44EB-9FA4-907557E40392}" dt="2022-11-03T10:07:46.989" v="353" actId="1038"/>
          <ac:grpSpMkLst>
            <pc:docMk/>
            <pc:sldMk cId="3801427309" sldId="2144868114"/>
            <ac:grpSpMk id="5" creationId="{703BAF8D-1528-30CF-8F52-365619838BEC}"/>
          </ac:grpSpMkLst>
        </pc:grpChg>
        <pc:grpChg chg="add mod">
          <ac:chgData name="Brown, Peter" userId="34fe0430-42e1-4120-9d39-668328cfa1f0" providerId="ADAL" clId="{212202D4-3E17-44EB-9FA4-907557E40392}" dt="2022-11-03T10:07:46.989" v="353" actId="1038"/>
          <ac:grpSpMkLst>
            <pc:docMk/>
            <pc:sldMk cId="3801427309" sldId="2144868114"/>
            <ac:grpSpMk id="48" creationId="{A740A305-5C21-8E1F-1A7F-F92D329867AC}"/>
          </ac:grpSpMkLst>
        </pc:grpChg>
        <pc:grpChg chg="add mod">
          <ac:chgData name="Brown, Peter" userId="34fe0430-42e1-4120-9d39-668328cfa1f0" providerId="ADAL" clId="{212202D4-3E17-44EB-9FA4-907557E40392}" dt="2022-11-03T10:07:46.989" v="353" actId="1038"/>
          <ac:grpSpMkLst>
            <pc:docMk/>
            <pc:sldMk cId="3801427309" sldId="2144868114"/>
            <ac:grpSpMk id="56" creationId="{EA3D1EB6-0115-4B75-E112-532376A2C235}"/>
          </ac:grpSpMkLst>
        </pc:grpChg>
        <pc:grpChg chg="mod">
          <ac:chgData name="Brown, Peter" userId="34fe0430-42e1-4120-9d39-668328cfa1f0" providerId="ADAL" clId="{212202D4-3E17-44EB-9FA4-907557E40392}" dt="2022-11-03T10:07:38.872" v="289"/>
          <ac:grpSpMkLst>
            <pc:docMk/>
            <pc:sldMk cId="3801427309" sldId="2144868114"/>
            <ac:grpSpMk id="60" creationId="{86DE98C9-C21C-59FF-CDAA-E9D64D0996FB}"/>
          </ac:grpSpMkLst>
        </pc:grpChg>
        <pc:grpChg chg="add mod">
          <ac:chgData name="Brown, Peter" userId="34fe0430-42e1-4120-9d39-668328cfa1f0" providerId="ADAL" clId="{212202D4-3E17-44EB-9FA4-907557E40392}" dt="2022-11-03T10:07:46.989" v="353" actId="1038"/>
          <ac:grpSpMkLst>
            <pc:docMk/>
            <pc:sldMk cId="3801427309" sldId="2144868114"/>
            <ac:grpSpMk id="68" creationId="{207E1A62-3A92-6E60-A6B3-EA4626F4BF05}"/>
          </ac:grpSpMkLst>
        </pc:grpChg>
        <pc:grpChg chg="add mod">
          <ac:chgData name="Brown, Peter" userId="34fe0430-42e1-4120-9d39-668328cfa1f0" providerId="ADAL" clId="{212202D4-3E17-44EB-9FA4-907557E40392}" dt="2022-11-03T10:07:46.989" v="353" actId="1038"/>
          <ac:grpSpMkLst>
            <pc:docMk/>
            <pc:sldMk cId="3801427309" sldId="2144868114"/>
            <ac:grpSpMk id="108" creationId="{F942E04B-DB38-C398-2A07-2A99C0EAB1FB}"/>
          </ac:grpSpMkLst>
        </pc:grpChg>
        <pc:grpChg chg="add mod">
          <ac:chgData name="Brown, Peter" userId="34fe0430-42e1-4120-9d39-668328cfa1f0" providerId="ADAL" clId="{212202D4-3E17-44EB-9FA4-907557E40392}" dt="2022-11-03T10:07:46.989" v="353" actId="1038"/>
          <ac:grpSpMkLst>
            <pc:docMk/>
            <pc:sldMk cId="3801427309" sldId="2144868114"/>
            <ac:grpSpMk id="118" creationId="{9C3D8904-FB31-E8C7-48D4-8978AD240EDE}"/>
          </ac:grpSpMkLst>
        </pc:grpChg>
        <pc:grpChg chg="mod">
          <ac:chgData name="Brown, Peter" userId="34fe0430-42e1-4120-9d39-668328cfa1f0" providerId="ADAL" clId="{212202D4-3E17-44EB-9FA4-907557E40392}" dt="2022-11-03T10:07:38.872" v="289"/>
          <ac:grpSpMkLst>
            <pc:docMk/>
            <pc:sldMk cId="3801427309" sldId="2144868114"/>
            <ac:grpSpMk id="120" creationId="{78096D51-F9D7-DA51-4519-3CF349D688AF}"/>
          </ac:grpSpMkLst>
        </pc:grpChg>
        <pc:grpChg chg="mod">
          <ac:chgData name="Brown, Peter" userId="34fe0430-42e1-4120-9d39-668328cfa1f0" providerId="ADAL" clId="{212202D4-3E17-44EB-9FA4-907557E40392}" dt="2022-11-03T10:07:38.872" v="289"/>
          <ac:grpSpMkLst>
            <pc:docMk/>
            <pc:sldMk cId="3801427309" sldId="2144868114"/>
            <ac:grpSpMk id="122" creationId="{3F030FD1-DD02-C126-F228-251CD520BEAF}"/>
          </ac:grpSpMkLst>
        </pc:grpChg>
        <pc:grpChg chg="mod">
          <ac:chgData name="Brown, Peter" userId="34fe0430-42e1-4120-9d39-668328cfa1f0" providerId="ADAL" clId="{212202D4-3E17-44EB-9FA4-907557E40392}" dt="2022-11-03T10:07:38.872" v="289"/>
          <ac:grpSpMkLst>
            <pc:docMk/>
            <pc:sldMk cId="3801427309" sldId="2144868114"/>
            <ac:grpSpMk id="174" creationId="{8E6381C6-9120-D7A1-98A6-BC9AED1D6879}"/>
          </ac:grpSpMkLst>
        </pc:grpChg>
        <pc:grpChg chg="mod">
          <ac:chgData name="Brown, Peter" userId="34fe0430-42e1-4120-9d39-668328cfa1f0" providerId="ADAL" clId="{212202D4-3E17-44EB-9FA4-907557E40392}" dt="2022-11-03T10:07:38.872" v="289"/>
          <ac:grpSpMkLst>
            <pc:docMk/>
            <pc:sldMk cId="3801427309" sldId="2144868114"/>
            <ac:grpSpMk id="177" creationId="{D1BB99A0-6E10-96B4-009B-7C5E0786E9FC}"/>
          </ac:grpSpMkLst>
        </pc:grpChg>
        <pc:grpChg chg="mod">
          <ac:chgData name="Brown, Peter" userId="34fe0430-42e1-4120-9d39-668328cfa1f0" providerId="ADAL" clId="{212202D4-3E17-44EB-9FA4-907557E40392}" dt="2022-11-03T10:07:38.872" v="289"/>
          <ac:grpSpMkLst>
            <pc:docMk/>
            <pc:sldMk cId="3801427309" sldId="2144868114"/>
            <ac:grpSpMk id="179" creationId="{9868DD87-C774-4294-356D-7A427FFA3AC0}"/>
          </ac:grpSpMkLst>
        </pc:grpChg>
        <pc:grpChg chg="mod">
          <ac:chgData name="Brown, Peter" userId="34fe0430-42e1-4120-9d39-668328cfa1f0" providerId="ADAL" clId="{212202D4-3E17-44EB-9FA4-907557E40392}" dt="2022-11-03T10:07:38.872" v="289"/>
          <ac:grpSpMkLst>
            <pc:docMk/>
            <pc:sldMk cId="3801427309" sldId="2144868114"/>
            <ac:grpSpMk id="181" creationId="{62D322CC-1C57-B94E-B0D5-E500FD5E67EB}"/>
          </ac:grpSpMkLst>
        </pc:grpChg>
        <pc:grpChg chg="mod">
          <ac:chgData name="Brown, Peter" userId="34fe0430-42e1-4120-9d39-668328cfa1f0" providerId="ADAL" clId="{212202D4-3E17-44EB-9FA4-907557E40392}" dt="2022-11-03T10:07:38.872" v="289"/>
          <ac:grpSpMkLst>
            <pc:docMk/>
            <pc:sldMk cId="3801427309" sldId="2144868114"/>
            <ac:grpSpMk id="183" creationId="{DAD7CA74-DB9F-AE60-D1F7-8AEB0AEC11CE}"/>
          </ac:grpSpMkLst>
        </pc:grpChg>
        <pc:grpChg chg="mod">
          <ac:chgData name="Brown, Peter" userId="34fe0430-42e1-4120-9d39-668328cfa1f0" providerId="ADAL" clId="{212202D4-3E17-44EB-9FA4-907557E40392}" dt="2022-11-03T10:07:38.872" v="289"/>
          <ac:grpSpMkLst>
            <pc:docMk/>
            <pc:sldMk cId="3801427309" sldId="2144868114"/>
            <ac:grpSpMk id="187" creationId="{CF72B0DB-A149-6B1D-E937-FE463604B4FF}"/>
          </ac:grpSpMkLst>
        </pc:grpChg>
        <pc:grpChg chg="mod">
          <ac:chgData name="Brown, Peter" userId="34fe0430-42e1-4120-9d39-668328cfa1f0" providerId="ADAL" clId="{212202D4-3E17-44EB-9FA4-907557E40392}" dt="2022-11-03T10:07:38.872" v="289"/>
          <ac:grpSpMkLst>
            <pc:docMk/>
            <pc:sldMk cId="3801427309" sldId="2144868114"/>
            <ac:grpSpMk id="191" creationId="{2532341D-1169-5049-1AB6-4CE669D2CF11}"/>
          </ac:grpSpMkLst>
        </pc:grpChg>
        <pc:grpChg chg="add mod">
          <ac:chgData name="Brown, Peter" userId="34fe0430-42e1-4120-9d39-668328cfa1f0" providerId="ADAL" clId="{212202D4-3E17-44EB-9FA4-907557E40392}" dt="2022-11-03T10:07:46.989" v="353" actId="1038"/>
          <ac:grpSpMkLst>
            <pc:docMk/>
            <pc:sldMk cId="3801427309" sldId="2144868114"/>
            <ac:grpSpMk id="263" creationId="{9342B071-073F-8595-BA12-DF76C86C087C}"/>
          </ac:grpSpMkLst>
        </pc:grpChg>
        <pc:grpChg chg="add mod">
          <ac:chgData name="Brown, Peter" userId="34fe0430-42e1-4120-9d39-668328cfa1f0" providerId="ADAL" clId="{212202D4-3E17-44EB-9FA4-907557E40392}" dt="2022-11-03T10:07:46.989" v="353" actId="1038"/>
          <ac:grpSpMkLst>
            <pc:docMk/>
            <pc:sldMk cId="3801427309" sldId="2144868114"/>
            <ac:grpSpMk id="275" creationId="{18781017-08B1-6210-D13A-7550FCCC3E89}"/>
          </ac:grpSpMkLst>
        </pc:grpChg>
        <pc:grpChg chg="add mod">
          <ac:chgData name="Brown, Peter" userId="34fe0430-42e1-4120-9d39-668328cfa1f0" providerId="ADAL" clId="{212202D4-3E17-44EB-9FA4-907557E40392}" dt="2022-11-03T10:07:46.989" v="353" actId="1038"/>
          <ac:grpSpMkLst>
            <pc:docMk/>
            <pc:sldMk cId="3801427309" sldId="2144868114"/>
            <ac:grpSpMk id="281" creationId="{3D7B6CC8-3204-57C0-1075-66A1D75A79DE}"/>
          </ac:grpSpMkLst>
        </pc:grpChg>
        <pc:picChg chg="mod">
          <ac:chgData name="Brown, Peter" userId="34fe0430-42e1-4120-9d39-668328cfa1f0" providerId="ADAL" clId="{212202D4-3E17-44EB-9FA4-907557E40392}" dt="2022-11-03T10:07:38.872" v="289"/>
          <ac:picMkLst>
            <pc:docMk/>
            <pc:sldMk cId="3801427309" sldId="2144868114"/>
            <ac:picMk id="117" creationId="{14A25752-1F7E-5D28-CEC5-3DC4C3663E5C}"/>
          </ac:picMkLst>
        </pc:picChg>
        <pc:picChg chg="mod">
          <ac:chgData name="Brown, Peter" userId="34fe0430-42e1-4120-9d39-668328cfa1f0" providerId="ADAL" clId="{212202D4-3E17-44EB-9FA4-907557E40392}" dt="2022-11-03T10:07:38.872" v="289"/>
          <ac:picMkLst>
            <pc:docMk/>
            <pc:sldMk cId="3801427309" sldId="2144868114"/>
            <ac:picMk id="271" creationId="{941D1D80-3311-1C93-53F6-FDE1B97CF542}"/>
          </ac:picMkLst>
        </pc:picChg>
        <pc:picChg chg="mod">
          <ac:chgData name="Brown, Peter" userId="34fe0430-42e1-4120-9d39-668328cfa1f0" providerId="ADAL" clId="{212202D4-3E17-44EB-9FA4-907557E40392}" dt="2022-11-03T10:07:38.872" v="289"/>
          <ac:picMkLst>
            <pc:docMk/>
            <pc:sldMk cId="3801427309" sldId="2144868114"/>
            <ac:picMk id="280" creationId="{ABFC6C20-2612-FBEC-1903-8D539D7CF19D}"/>
          </ac:picMkLst>
        </pc:picChg>
        <pc:picChg chg="mod">
          <ac:chgData name="Brown, Peter" userId="34fe0430-42e1-4120-9d39-668328cfa1f0" providerId="ADAL" clId="{212202D4-3E17-44EB-9FA4-907557E40392}" dt="2022-11-03T10:07:38.872" v="289"/>
          <ac:picMkLst>
            <pc:docMk/>
            <pc:sldMk cId="3801427309" sldId="2144868114"/>
            <ac:picMk id="286" creationId="{414C0059-7D8B-C0DD-3C79-888732A3D7EB}"/>
          </ac:picMkLst>
        </pc:picChg>
      </pc:sldChg>
      <pc:sldChg chg="addSp delSp modSp new mod modNotesTx">
        <pc:chgData name="Brown, Peter" userId="34fe0430-42e1-4120-9d39-668328cfa1f0" providerId="ADAL" clId="{212202D4-3E17-44EB-9FA4-907557E40392}" dt="2022-11-03T11:13:59.907" v="2906" actId="20577"/>
        <pc:sldMkLst>
          <pc:docMk/>
          <pc:sldMk cId="2126679556" sldId="2144868115"/>
        </pc:sldMkLst>
        <pc:spChg chg="mod">
          <ac:chgData name="Brown, Peter" userId="34fe0430-42e1-4120-9d39-668328cfa1f0" providerId="ADAL" clId="{212202D4-3E17-44EB-9FA4-907557E40392}" dt="2022-11-03T10:13:12.881" v="651" actId="20577"/>
          <ac:spMkLst>
            <pc:docMk/>
            <pc:sldMk cId="2126679556" sldId="2144868115"/>
            <ac:spMk id="4" creationId="{5F2C373D-E08A-BE19-1C57-DF1EEB7E20A4}"/>
          </ac:spMkLst>
        </pc:spChg>
        <pc:spChg chg="add del mod">
          <ac:chgData name="Brown, Peter" userId="34fe0430-42e1-4120-9d39-668328cfa1f0" providerId="ADAL" clId="{212202D4-3E17-44EB-9FA4-907557E40392}" dt="2022-11-03T10:29:22.309" v="1625" actId="478"/>
          <ac:spMkLst>
            <pc:docMk/>
            <pc:sldMk cId="2126679556" sldId="2144868115"/>
            <ac:spMk id="5" creationId="{C867B849-7BDE-95BA-C1EA-908C5B784544}"/>
          </ac:spMkLst>
        </pc:spChg>
        <pc:spChg chg="add mod">
          <ac:chgData name="Brown, Peter" userId="34fe0430-42e1-4120-9d39-668328cfa1f0" providerId="ADAL" clId="{212202D4-3E17-44EB-9FA4-907557E40392}" dt="2022-11-03T10:50:58.133" v="2114" actId="207"/>
          <ac:spMkLst>
            <pc:docMk/>
            <pc:sldMk cId="2126679556" sldId="2144868115"/>
            <ac:spMk id="6" creationId="{BDBE2048-CDB1-5F64-8CBC-BF86095147BF}"/>
          </ac:spMkLst>
        </pc:spChg>
        <pc:spChg chg="add mod">
          <ac:chgData name="Brown, Peter" userId="34fe0430-42e1-4120-9d39-668328cfa1f0" providerId="ADAL" clId="{212202D4-3E17-44EB-9FA4-907557E40392}" dt="2022-11-03T10:51:05.518" v="2115" actId="207"/>
          <ac:spMkLst>
            <pc:docMk/>
            <pc:sldMk cId="2126679556" sldId="2144868115"/>
            <ac:spMk id="7" creationId="{D1E0A66F-A9E1-3FCD-91A8-31CA12EE45FB}"/>
          </ac:spMkLst>
        </pc:spChg>
        <pc:spChg chg="add mod">
          <ac:chgData name="Brown, Peter" userId="34fe0430-42e1-4120-9d39-668328cfa1f0" providerId="ADAL" clId="{212202D4-3E17-44EB-9FA4-907557E40392}" dt="2022-11-03T10:53:47.023" v="2171" actId="20577"/>
          <ac:spMkLst>
            <pc:docMk/>
            <pc:sldMk cId="2126679556" sldId="2144868115"/>
            <ac:spMk id="8" creationId="{4120C56A-D13D-811D-C08A-CFFB4C13BBE2}"/>
          </ac:spMkLst>
        </pc:spChg>
        <pc:spChg chg="add mod">
          <ac:chgData name="Brown, Peter" userId="34fe0430-42e1-4120-9d39-668328cfa1f0" providerId="ADAL" clId="{212202D4-3E17-44EB-9FA4-907557E40392}" dt="2022-11-03T10:51:09.134" v="2116" actId="207"/>
          <ac:spMkLst>
            <pc:docMk/>
            <pc:sldMk cId="2126679556" sldId="2144868115"/>
            <ac:spMk id="9" creationId="{7C5BC2D8-298D-13D1-7376-99C78964A288}"/>
          </ac:spMkLst>
        </pc:spChg>
        <pc:spChg chg="mod">
          <ac:chgData name="Brown, Peter" userId="34fe0430-42e1-4120-9d39-668328cfa1f0" providerId="ADAL" clId="{212202D4-3E17-44EB-9FA4-907557E40392}" dt="2022-11-03T11:13:54.348" v="2900" actId="20577"/>
          <ac:spMkLst>
            <pc:docMk/>
            <pc:sldMk cId="2126679556" sldId="2144868115"/>
            <ac:spMk id="11" creationId="{CB7B5FA0-4C87-F435-1696-E2E3D650FB78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3" creationId="{7D98DF6C-D455-C73E-5D39-5183E92B853B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4" creationId="{F53AB7CD-3C01-88CC-7502-33E6C83133D5}"/>
          </ac:spMkLst>
        </pc:spChg>
        <pc:spChg chg="mod">
          <ac:chgData name="Brown, Peter" userId="34fe0430-42e1-4120-9d39-668328cfa1f0" providerId="ADAL" clId="{212202D4-3E17-44EB-9FA4-907557E40392}" dt="2022-11-03T11:13:59.907" v="2906" actId="20577"/>
          <ac:spMkLst>
            <pc:docMk/>
            <pc:sldMk cId="2126679556" sldId="2144868115"/>
            <ac:spMk id="16" creationId="{67926629-B522-008F-01E3-86A703F6748E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8" creationId="{4DA86812-4D8F-C1B2-A7CB-6D83BE68A678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9" creationId="{C92AF1DB-6DF8-4706-9A5C-0E0375560BD6}"/>
          </ac:spMkLst>
        </pc:spChg>
        <pc:spChg chg="mod">
          <ac:chgData name="Brown, Peter" userId="34fe0430-42e1-4120-9d39-668328cfa1f0" providerId="ADAL" clId="{212202D4-3E17-44EB-9FA4-907557E40392}" dt="2022-11-03T10:53:56.366" v="2172" actId="14100"/>
          <ac:spMkLst>
            <pc:docMk/>
            <pc:sldMk cId="2126679556" sldId="2144868115"/>
            <ac:spMk id="21" creationId="{495D799C-2568-042D-12EA-5FBFFADDE011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23" creationId="{67BC22AD-6856-5645-C887-678253AD2CA7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24" creationId="{9F5BE736-8F06-05C4-035F-522095B85C27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26" creationId="{AC0E288C-09E6-E1C8-F3B1-CB19C0196862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29" creationId="{96061CBF-A8B1-9704-3B16-ADD74A079510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30" creationId="{78C615FC-6277-2677-51BC-B99F3D34D85B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31" creationId="{D159EEDD-7418-B8FD-4D24-658D109D0F4A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32" creationId="{4537DA81-E27E-F10D-79C5-7CC0FD30F203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34" creationId="{E4725B3B-BC88-3C31-DDF7-FB20BECB6E79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35" creationId="{30F322B8-983A-0CCF-51CB-610CD596EA6E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36" creationId="{7DC3EC44-AA9B-AAB3-FF2F-FF8DB46B6CFB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37" creationId="{A80C57B9-98D7-085E-E9EE-9C6F42F40D8B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38" creationId="{76071650-417C-83E9-F6CC-0506CE62AE99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39" creationId="{B68809E6-8650-4813-709B-A12E8E82B516}"/>
          </ac:spMkLst>
        </pc:spChg>
        <pc:spChg chg="add mod">
          <ac:chgData name="Brown, Peter" userId="34fe0430-42e1-4120-9d39-668328cfa1f0" providerId="ADAL" clId="{212202D4-3E17-44EB-9FA4-907557E40392}" dt="2022-11-03T10:49:50.196" v="2078" actId="14100"/>
          <ac:spMkLst>
            <pc:docMk/>
            <pc:sldMk cId="2126679556" sldId="2144868115"/>
            <ac:spMk id="40" creationId="{25E7AF30-0C7E-B9FA-25F9-2438C1AF14B5}"/>
          </ac:spMkLst>
        </pc:spChg>
        <pc:spChg chg="add del mod">
          <ac:chgData name="Brown, Peter" userId="34fe0430-42e1-4120-9d39-668328cfa1f0" providerId="ADAL" clId="{212202D4-3E17-44EB-9FA4-907557E40392}" dt="2022-11-03T10:46:43.385" v="1994" actId="478"/>
          <ac:spMkLst>
            <pc:docMk/>
            <pc:sldMk cId="2126679556" sldId="2144868115"/>
            <ac:spMk id="41" creationId="{9CCB4323-16BE-6594-6319-C798C1FEF357}"/>
          </ac:spMkLst>
        </pc:spChg>
        <pc:spChg chg="add del mod">
          <ac:chgData name="Brown, Peter" userId="34fe0430-42e1-4120-9d39-668328cfa1f0" providerId="ADAL" clId="{212202D4-3E17-44EB-9FA4-907557E40392}" dt="2022-11-03T10:46:41.258" v="1993" actId="478"/>
          <ac:spMkLst>
            <pc:docMk/>
            <pc:sldMk cId="2126679556" sldId="2144868115"/>
            <ac:spMk id="42" creationId="{40873847-1427-46E7-CE75-226AEBFA9C88}"/>
          </ac:spMkLst>
        </pc:spChg>
        <pc:spChg chg="add del mod">
          <ac:chgData name="Brown, Peter" userId="34fe0430-42e1-4120-9d39-668328cfa1f0" providerId="ADAL" clId="{212202D4-3E17-44EB-9FA4-907557E40392}" dt="2022-11-03T10:45:27.843" v="1937" actId="478"/>
          <ac:spMkLst>
            <pc:docMk/>
            <pc:sldMk cId="2126679556" sldId="2144868115"/>
            <ac:spMk id="43" creationId="{B26CA438-18BE-9F94-62F6-BBA773D4B8E0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45" creationId="{3C5EFF2B-6DE6-D181-32A5-F5CA3C30F8A3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46" creationId="{987B78F2-8DDF-6D49-48C7-D3302280A418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47" creationId="{3E34B008-55BD-7397-C3B8-C89DC5A9FDD8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48" creationId="{729787F4-413D-CD8B-6D1A-4BDCFC8E6746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49" creationId="{7474C8CF-075F-2F25-B5A8-D5B9CBD4A4FD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50" creationId="{BA7A249D-50C6-4F7A-F8C8-D1FE66D4B176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51" creationId="{537EA87F-908E-EC8D-B4DC-539A467DC162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52" creationId="{1A1C5F89-B21B-B561-C50E-CF11A87172B4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53" creationId="{1D1FFB62-8E68-CFDF-C721-B456420CFEB3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54" creationId="{E906D4F4-D156-F1E5-B65F-D39FED65D4D0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55" creationId="{0D843CD5-68DF-A855-D7F8-1B23D8B3EFA4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56" creationId="{E22174A5-D456-026A-1C81-6515E70B187F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57" creationId="{3D50C711-B441-8F69-CE2D-08791056CFC3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58" creationId="{FEDB25B1-0B84-CF30-44AB-2DE42781296C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59" creationId="{BDE0EAC1-EC83-6DE6-7112-AF60957076C3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60" creationId="{6DBB3230-CBBF-54ED-8246-842170F3A641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62" creationId="{079B76CE-9773-FEEE-8D75-67D1FFBBB649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63" creationId="{20AD9A30-AFBC-9003-C9AC-420DDEBBF3AF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64" creationId="{1A077CF7-3916-AFA8-B4E6-02F0BEACB409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65" creationId="{C3F9BBE3-A446-503E-95DB-14C17EA19129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66" creationId="{83AFB5CE-853C-2641-A5F9-6AB6ECF9BA75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67" creationId="{D1F3DB24-BEC5-A2B2-F675-7F9B271533DD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68" creationId="{C753A4EA-DF0E-BE5B-4263-AF3C711A0BA3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69" creationId="{1DD5143D-CC3D-2947-64BA-BB37A69F7F99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70" creationId="{2C501CF7-DF37-D093-2951-7A229BA35F9F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71" creationId="{DF551E80-72E8-5340-78FD-1748673A23BC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72" creationId="{06F6163C-AAD0-7DFB-F622-2EABADD58D3D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73" creationId="{AF1952CA-A08A-451A-6E88-D2C5130291E8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74" creationId="{64379E4F-3847-10D1-5932-4EF0FFDDBB85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75" creationId="{B72C7BCF-0702-234B-4951-0DFFE80B3CB7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76" creationId="{BB353E78-FF04-D4AE-6C93-1D35DA12D4C9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77" creationId="{69B12A11-1735-35E7-9EFD-018B3F9565B0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78" creationId="{B631DFB1-B476-EB51-7398-7488844D6A74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79" creationId="{1498F8F2-44A9-B60E-BA68-0BBAC37EA75A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80" creationId="{87C41634-D1DE-614F-A9BE-87616C1934B4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81" creationId="{E8923B54-640B-A44E-471B-FBC59A68A798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82" creationId="{2888E1B7-2AF9-6B21-15C9-D3A198140C23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83" creationId="{D9783EF0-6381-5119-5828-B5E11CC5AA14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84" creationId="{27F033D5-6295-F878-06D6-3A48F4A6FBF3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85" creationId="{37CB64D9-3CED-691A-C3C0-A575314AF722}"/>
          </ac:spMkLst>
        </pc:spChg>
        <pc:spChg chg="add del mod">
          <ac:chgData name="Brown, Peter" userId="34fe0430-42e1-4120-9d39-668328cfa1f0" providerId="ADAL" clId="{212202D4-3E17-44EB-9FA4-907557E40392}" dt="2022-11-03T10:46:09.581" v="1941" actId="478"/>
          <ac:spMkLst>
            <pc:docMk/>
            <pc:sldMk cId="2126679556" sldId="2144868115"/>
            <ac:spMk id="87" creationId="{0186064D-7105-149F-D282-529DE4416A07}"/>
          </ac:spMkLst>
        </pc:spChg>
        <pc:spChg chg="add del mod">
          <ac:chgData name="Brown, Peter" userId="34fe0430-42e1-4120-9d39-668328cfa1f0" providerId="ADAL" clId="{212202D4-3E17-44EB-9FA4-907557E40392}" dt="2022-11-03T10:46:14.133" v="1942" actId="478"/>
          <ac:spMkLst>
            <pc:docMk/>
            <pc:sldMk cId="2126679556" sldId="2144868115"/>
            <ac:spMk id="88" creationId="{CE819FB9-14EE-0784-144B-37B6811288EE}"/>
          </ac:spMkLst>
        </pc:spChg>
        <pc:spChg chg="add mod">
          <ac:chgData name="Brown, Peter" userId="34fe0430-42e1-4120-9d39-668328cfa1f0" providerId="ADAL" clId="{212202D4-3E17-44EB-9FA4-907557E40392}" dt="2022-11-03T10:13:33.087" v="714" actId="1038"/>
          <ac:spMkLst>
            <pc:docMk/>
            <pc:sldMk cId="2126679556" sldId="2144868115"/>
            <ac:spMk id="89" creationId="{F5E983F0-EDC8-307B-C859-289192BEE4EF}"/>
          </ac:spMkLst>
        </pc:spChg>
        <pc:spChg chg="add del mod">
          <ac:chgData name="Brown, Peter" userId="34fe0430-42e1-4120-9d39-668328cfa1f0" providerId="ADAL" clId="{212202D4-3E17-44EB-9FA4-907557E40392}" dt="2022-11-03T10:46:14.133" v="1942" actId="478"/>
          <ac:spMkLst>
            <pc:docMk/>
            <pc:sldMk cId="2126679556" sldId="2144868115"/>
            <ac:spMk id="90" creationId="{44577258-1675-A04A-9057-0AB6BCA96A05}"/>
          </ac:spMkLst>
        </pc:spChg>
        <pc:spChg chg="add del mod">
          <ac:chgData name="Brown, Peter" userId="34fe0430-42e1-4120-9d39-668328cfa1f0" providerId="ADAL" clId="{212202D4-3E17-44EB-9FA4-907557E40392}" dt="2022-11-03T10:46:14.133" v="1942" actId="478"/>
          <ac:spMkLst>
            <pc:docMk/>
            <pc:sldMk cId="2126679556" sldId="2144868115"/>
            <ac:spMk id="91" creationId="{B4E5472E-75B2-A9A3-F9CF-B2849FF96E71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93" creationId="{E500FF42-4F54-4A57-CC7D-A9126F6D27E3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94" creationId="{55746BBD-3978-6E56-914E-2A8C40D4ACCE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95" creationId="{8029CA5E-5E95-E53F-DA06-7B193975F50B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96" creationId="{6308D1EC-4D9D-8202-24B8-F8874A3CC7EF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97" creationId="{973ADA46-8DFE-6FA8-FB3E-04B4911B17B6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98" creationId="{1412B817-6D7D-A304-5DBC-73A3B28B1697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99" creationId="{B7BDA8D9-47A1-E7BF-29C6-31802786E25D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00" creationId="{D701DEB0-56BC-044B-D2D6-603771B8111B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01" creationId="{6F3B896F-E7AA-38E8-77E9-287401D8BCF2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02" creationId="{785D9758-5CF3-BF1C-D424-1D6C55463DC8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03" creationId="{8F34FF78-9167-9AA8-CAA6-973EC4B6DBDE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04" creationId="{14A655F6-657C-0D40-FE26-1C17A35F41B5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05" creationId="{754BC212-96E0-8079-4D10-F66DD6182237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06" creationId="{89BA39D1-B531-20D1-E7F1-D1D2D0C04261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07" creationId="{F0BFE454-EBAB-45F8-3321-B59B5CEFFF9E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08" creationId="{858A36F8-9680-24B4-F6FC-9BFBBCE718F7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09" creationId="{6D6A7194-4CC1-7744-F3C6-24F906EBC067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10" creationId="{BCD75FAA-37F9-4969-C912-274D30ECB39C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11" creationId="{B03F0DFD-7EC0-61B5-8AA1-A74BA4E4CBED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12" creationId="{E27E5E12-DF79-9DA1-6FB3-0577DC6A62CC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13" creationId="{45C602AC-3435-B858-5899-C88F219ADFCD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14" creationId="{52BBD5AE-7675-1617-380E-D39C00FE4F93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15" creationId="{20A3DE00-35BF-5117-5BA4-64E441762E22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16" creationId="{A1E9FDE7-0F25-0936-9686-3FE574897629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17" creationId="{3BE896C7-7071-B27C-5433-FA409E632CD7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19" creationId="{98F5FDB1-E21B-0E9B-FD50-933B36EBB44E}"/>
          </ac:spMkLst>
        </pc:spChg>
        <pc:spChg chg="mod">
          <ac:chgData name="Brown, Peter" userId="34fe0430-42e1-4120-9d39-668328cfa1f0" providerId="ADAL" clId="{212202D4-3E17-44EB-9FA4-907557E40392}" dt="2022-11-03T10:13:25.854" v="652"/>
          <ac:spMkLst>
            <pc:docMk/>
            <pc:sldMk cId="2126679556" sldId="2144868115"/>
            <ac:spMk id="120" creationId="{4C7EB43D-1EAA-68B9-6E86-E337A257E125}"/>
          </ac:spMkLst>
        </pc:spChg>
        <pc:grpChg chg="add mod">
          <ac:chgData name="Brown, Peter" userId="34fe0430-42e1-4120-9d39-668328cfa1f0" providerId="ADAL" clId="{212202D4-3E17-44EB-9FA4-907557E40392}" dt="2022-11-03T10:13:33.087" v="714" actId="1038"/>
          <ac:grpSpMkLst>
            <pc:docMk/>
            <pc:sldMk cId="2126679556" sldId="2144868115"/>
            <ac:grpSpMk id="10" creationId="{EAC04926-78E2-A91E-28B0-7576E404E7E7}"/>
          </ac:grpSpMkLst>
        </pc:grpChg>
        <pc:grpChg chg="mod">
          <ac:chgData name="Brown, Peter" userId="34fe0430-42e1-4120-9d39-668328cfa1f0" providerId="ADAL" clId="{212202D4-3E17-44EB-9FA4-907557E40392}" dt="2022-11-03T10:13:25.854" v="652"/>
          <ac:grpSpMkLst>
            <pc:docMk/>
            <pc:sldMk cId="2126679556" sldId="2144868115"/>
            <ac:grpSpMk id="12" creationId="{6216D5DB-230F-E7C1-31A1-4104AF02F0CE}"/>
          </ac:grpSpMkLst>
        </pc:grpChg>
        <pc:grpChg chg="add mod">
          <ac:chgData name="Brown, Peter" userId="34fe0430-42e1-4120-9d39-668328cfa1f0" providerId="ADAL" clId="{212202D4-3E17-44EB-9FA4-907557E40392}" dt="2022-11-03T10:50:07.830" v="2110" actId="1035"/>
          <ac:grpSpMkLst>
            <pc:docMk/>
            <pc:sldMk cId="2126679556" sldId="2144868115"/>
            <ac:grpSpMk id="15" creationId="{850F969B-776F-055E-8E81-3E743107B2B2}"/>
          </ac:grpSpMkLst>
        </pc:grpChg>
        <pc:grpChg chg="mod">
          <ac:chgData name="Brown, Peter" userId="34fe0430-42e1-4120-9d39-668328cfa1f0" providerId="ADAL" clId="{212202D4-3E17-44EB-9FA4-907557E40392}" dt="2022-11-03T10:13:25.854" v="652"/>
          <ac:grpSpMkLst>
            <pc:docMk/>
            <pc:sldMk cId="2126679556" sldId="2144868115"/>
            <ac:grpSpMk id="17" creationId="{AEFE687F-758A-7BEC-CBF8-3A44022E4AD9}"/>
          </ac:grpSpMkLst>
        </pc:grpChg>
        <pc:grpChg chg="add mod">
          <ac:chgData name="Brown, Peter" userId="34fe0430-42e1-4120-9d39-668328cfa1f0" providerId="ADAL" clId="{212202D4-3E17-44EB-9FA4-907557E40392}" dt="2022-11-03T10:51:20.684" v="2142" actId="1035"/>
          <ac:grpSpMkLst>
            <pc:docMk/>
            <pc:sldMk cId="2126679556" sldId="2144868115"/>
            <ac:grpSpMk id="20" creationId="{B0922C12-52C5-50A5-4B4E-141DB693B031}"/>
          </ac:grpSpMkLst>
        </pc:grpChg>
        <pc:grpChg chg="mod">
          <ac:chgData name="Brown, Peter" userId="34fe0430-42e1-4120-9d39-668328cfa1f0" providerId="ADAL" clId="{212202D4-3E17-44EB-9FA4-907557E40392}" dt="2022-11-03T10:13:25.854" v="652"/>
          <ac:grpSpMkLst>
            <pc:docMk/>
            <pc:sldMk cId="2126679556" sldId="2144868115"/>
            <ac:grpSpMk id="22" creationId="{DF1F4813-A3E7-4062-4776-8A5ED7BB8327}"/>
          </ac:grpSpMkLst>
        </pc:grpChg>
        <pc:grpChg chg="add del mod">
          <ac:chgData name="Brown, Peter" userId="34fe0430-42e1-4120-9d39-668328cfa1f0" providerId="ADAL" clId="{212202D4-3E17-44EB-9FA4-907557E40392}" dt="2022-11-03T10:46:17.604" v="1943" actId="478"/>
          <ac:grpSpMkLst>
            <pc:docMk/>
            <pc:sldMk cId="2126679556" sldId="2144868115"/>
            <ac:grpSpMk id="25" creationId="{E98BD991-8B25-58AA-92B3-80590C18D58F}"/>
          </ac:grpSpMkLst>
        </pc:grpChg>
        <pc:grpChg chg="mod">
          <ac:chgData name="Brown, Peter" userId="34fe0430-42e1-4120-9d39-668328cfa1f0" providerId="ADAL" clId="{212202D4-3E17-44EB-9FA4-907557E40392}" dt="2022-11-03T10:13:25.854" v="652"/>
          <ac:grpSpMkLst>
            <pc:docMk/>
            <pc:sldMk cId="2126679556" sldId="2144868115"/>
            <ac:grpSpMk id="27" creationId="{7BDADE9F-C7BA-DFA1-FE03-7CCCFBBA9DC6}"/>
          </ac:grpSpMkLst>
        </pc:grpChg>
        <pc:grpChg chg="mod">
          <ac:chgData name="Brown, Peter" userId="34fe0430-42e1-4120-9d39-668328cfa1f0" providerId="ADAL" clId="{212202D4-3E17-44EB-9FA4-907557E40392}" dt="2022-11-03T10:13:25.854" v="652"/>
          <ac:grpSpMkLst>
            <pc:docMk/>
            <pc:sldMk cId="2126679556" sldId="2144868115"/>
            <ac:grpSpMk id="28" creationId="{20117E05-FAF1-0D85-A091-D43E7FED043F}"/>
          </ac:grpSpMkLst>
        </pc:grpChg>
        <pc:grpChg chg="mod">
          <ac:chgData name="Brown, Peter" userId="34fe0430-42e1-4120-9d39-668328cfa1f0" providerId="ADAL" clId="{212202D4-3E17-44EB-9FA4-907557E40392}" dt="2022-11-03T10:13:25.854" v="652"/>
          <ac:grpSpMkLst>
            <pc:docMk/>
            <pc:sldMk cId="2126679556" sldId="2144868115"/>
            <ac:grpSpMk id="33" creationId="{804E477D-F983-8E96-903E-C82488C3FD5B}"/>
          </ac:grpSpMkLst>
        </pc:grpChg>
        <pc:grpChg chg="add del mod">
          <ac:chgData name="Brown, Peter" userId="34fe0430-42e1-4120-9d39-668328cfa1f0" providerId="ADAL" clId="{212202D4-3E17-44EB-9FA4-907557E40392}" dt="2022-11-03T10:46:39.153" v="1992" actId="478"/>
          <ac:grpSpMkLst>
            <pc:docMk/>
            <pc:sldMk cId="2126679556" sldId="2144868115"/>
            <ac:grpSpMk id="44" creationId="{64385EB7-E6D4-5435-A08E-EB50D1C1B5B6}"/>
          </ac:grpSpMkLst>
        </pc:grpChg>
        <pc:grpChg chg="mod">
          <ac:chgData name="Brown, Peter" userId="34fe0430-42e1-4120-9d39-668328cfa1f0" providerId="ADAL" clId="{212202D4-3E17-44EB-9FA4-907557E40392}" dt="2022-11-03T10:13:25.854" v="652"/>
          <ac:grpSpMkLst>
            <pc:docMk/>
            <pc:sldMk cId="2126679556" sldId="2144868115"/>
            <ac:grpSpMk id="61" creationId="{3F37620F-8051-AC9C-F66C-2C1D609997E1}"/>
          </ac:grpSpMkLst>
        </pc:grpChg>
        <pc:grpChg chg="add del mod">
          <ac:chgData name="Brown, Peter" userId="34fe0430-42e1-4120-9d39-668328cfa1f0" providerId="ADAL" clId="{212202D4-3E17-44EB-9FA4-907557E40392}" dt="2022-11-03T10:46:05.501" v="1940" actId="478"/>
          <ac:grpSpMkLst>
            <pc:docMk/>
            <pc:sldMk cId="2126679556" sldId="2144868115"/>
            <ac:grpSpMk id="92" creationId="{66038815-0426-2C9C-E4A8-0958A5A04BB6}"/>
          </ac:grpSpMkLst>
        </pc:grpChg>
        <pc:grpChg chg="mod">
          <ac:chgData name="Brown, Peter" userId="34fe0430-42e1-4120-9d39-668328cfa1f0" providerId="ADAL" clId="{212202D4-3E17-44EB-9FA4-907557E40392}" dt="2022-11-03T10:13:25.854" v="652"/>
          <ac:grpSpMkLst>
            <pc:docMk/>
            <pc:sldMk cId="2126679556" sldId="2144868115"/>
            <ac:grpSpMk id="118" creationId="{EA11CADD-A403-26B4-A39C-56979532310E}"/>
          </ac:grpSpMkLst>
        </pc:grpChg>
        <pc:picChg chg="add mod">
          <ac:chgData name="Brown, Peter" userId="34fe0430-42e1-4120-9d39-668328cfa1f0" providerId="ADAL" clId="{212202D4-3E17-44EB-9FA4-907557E40392}" dt="2022-11-03T10:53:32.272" v="2165" actId="166"/>
          <ac:picMkLst>
            <pc:docMk/>
            <pc:sldMk cId="2126679556" sldId="2144868115"/>
            <ac:picMk id="5" creationId="{CED3A03B-7EE3-9DE1-BEDB-CF914FB580F2}"/>
          </ac:picMkLst>
        </pc:picChg>
        <pc:picChg chg="add del mod">
          <ac:chgData name="Brown, Peter" userId="34fe0430-42e1-4120-9d39-668328cfa1f0" providerId="ADAL" clId="{212202D4-3E17-44EB-9FA4-907557E40392}" dt="2022-11-03T10:45:21.160" v="1936" actId="478"/>
          <ac:picMkLst>
            <pc:docMk/>
            <pc:sldMk cId="2126679556" sldId="2144868115"/>
            <ac:picMk id="86" creationId="{77A7CC98-97F7-847B-4D96-ED97C1BC6FB9}"/>
          </ac:picMkLst>
        </pc:picChg>
        <pc:picChg chg="add mod">
          <ac:chgData name="Brown, Peter" userId="34fe0430-42e1-4120-9d39-668328cfa1f0" providerId="ADAL" clId="{212202D4-3E17-44EB-9FA4-907557E40392}" dt="2022-11-03T10:53:35.490" v="2166" actId="166"/>
          <ac:picMkLst>
            <pc:docMk/>
            <pc:sldMk cId="2126679556" sldId="2144868115"/>
            <ac:picMk id="121" creationId="{DBB6CA71-7075-1836-A4FB-CEA934755B4F}"/>
          </ac:picMkLst>
        </pc:picChg>
        <pc:picChg chg="add mod">
          <ac:chgData name="Brown, Peter" userId="34fe0430-42e1-4120-9d39-668328cfa1f0" providerId="ADAL" clId="{212202D4-3E17-44EB-9FA4-907557E40392}" dt="2022-11-03T10:53:38.128" v="2167" actId="166"/>
          <ac:picMkLst>
            <pc:docMk/>
            <pc:sldMk cId="2126679556" sldId="2144868115"/>
            <ac:picMk id="122" creationId="{6E420449-2536-6E0E-CDAB-C94CBF21167C}"/>
          </ac:picMkLst>
        </pc:picChg>
        <pc:cxnChg chg="add mod">
          <ac:chgData name="Brown, Peter" userId="34fe0430-42e1-4120-9d39-668328cfa1f0" providerId="ADAL" clId="{212202D4-3E17-44EB-9FA4-907557E40392}" dt="2022-11-03T10:53:13.972" v="2164" actId="692"/>
          <ac:cxnSpMkLst>
            <pc:docMk/>
            <pc:sldMk cId="2126679556" sldId="2144868115"/>
            <ac:cxnSpMk id="124" creationId="{B15D3C5A-797F-7C68-8E3C-B1EF7DF6BB4A}"/>
          </ac:cxnSpMkLst>
        </pc:cxnChg>
        <pc:cxnChg chg="add mod">
          <ac:chgData name="Brown, Peter" userId="34fe0430-42e1-4120-9d39-668328cfa1f0" providerId="ADAL" clId="{212202D4-3E17-44EB-9FA4-907557E40392}" dt="2022-11-03T10:53:13.972" v="2164" actId="692"/>
          <ac:cxnSpMkLst>
            <pc:docMk/>
            <pc:sldMk cId="2126679556" sldId="2144868115"/>
            <ac:cxnSpMk id="126" creationId="{294E90A3-F3B5-7427-5424-35B57E8A9AE2}"/>
          </ac:cxnSpMkLst>
        </pc:cxnChg>
        <pc:cxnChg chg="add mod">
          <ac:chgData name="Brown, Peter" userId="34fe0430-42e1-4120-9d39-668328cfa1f0" providerId="ADAL" clId="{212202D4-3E17-44EB-9FA4-907557E40392}" dt="2022-11-03T10:53:13.972" v="2164" actId="692"/>
          <ac:cxnSpMkLst>
            <pc:docMk/>
            <pc:sldMk cId="2126679556" sldId="2144868115"/>
            <ac:cxnSpMk id="128" creationId="{907B6480-1CEF-C1D6-5B40-9253719EAE49}"/>
          </ac:cxnSpMkLst>
        </pc:cxnChg>
        <pc:cxnChg chg="add mod">
          <ac:chgData name="Brown, Peter" userId="34fe0430-42e1-4120-9d39-668328cfa1f0" providerId="ADAL" clId="{212202D4-3E17-44EB-9FA4-907557E40392}" dt="2022-11-03T10:53:13.972" v="2164" actId="692"/>
          <ac:cxnSpMkLst>
            <pc:docMk/>
            <pc:sldMk cId="2126679556" sldId="2144868115"/>
            <ac:cxnSpMk id="131" creationId="{CC0E73C2-9E11-42A5-084F-507D2B270EB9}"/>
          </ac:cxnSpMkLst>
        </pc:cxnChg>
      </pc:sldChg>
      <pc:sldChg chg="del">
        <pc:chgData name="Brown, Peter" userId="34fe0430-42e1-4120-9d39-668328cfa1f0" providerId="ADAL" clId="{212202D4-3E17-44EB-9FA4-907557E40392}" dt="2022-11-03T10:02:25.772" v="78" actId="47"/>
        <pc:sldMkLst>
          <pc:docMk/>
          <pc:sldMk cId="3780021534" sldId="2144868115"/>
        </pc:sldMkLst>
      </pc:sldChg>
      <pc:sldChg chg="addSp modSp new mod">
        <pc:chgData name="Brown, Peter" userId="34fe0430-42e1-4120-9d39-668328cfa1f0" providerId="ADAL" clId="{212202D4-3E17-44EB-9FA4-907557E40392}" dt="2022-11-03T10:12:35.355" v="623" actId="207"/>
        <pc:sldMkLst>
          <pc:docMk/>
          <pc:sldMk cId="1853640568" sldId="2144868116"/>
        </pc:sldMkLst>
        <pc:spChg chg="mod">
          <ac:chgData name="Brown, Peter" userId="34fe0430-42e1-4120-9d39-668328cfa1f0" providerId="ADAL" clId="{212202D4-3E17-44EB-9FA4-907557E40392}" dt="2022-11-03T10:11:25.198" v="534" actId="20577"/>
          <ac:spMkLst>
            <pc:docMk/>
            <pc:sldMk cId="1853640568" sldId="2144868116"/>
            <ac:spMk id="4" creationId="{99BFD6F7-BD98-5BAD-AFD6-F426B937E2AD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5" creationId="{800081F8-9D09-7019-F459-77D3CA56FF65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6" creationId="{74F921E9-4816-B868-5C9C-DBC3821FED56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7" creationId="{C1A75ABC-69E8-3544-C2E9-24F245BFC021}"/>
          </ac:spMkLst>
        </pc:spChg>
        <pc:spChg chg="add mod">
          <ac:chgData name="Brown, Peter" userId="34fe0430-42e1-4120-9d39-668328cfa1f0" providerId="ADAL" clId="{212202D4-3E17-44EB-9FA4-907557E40392}" dt="2022-11-03T10:12:25.345" v="620" actId="207"/>
          <ac:spMkLst>
            <pc:docMk/>
            <pc:sldMk cId="1853640568" sldId="2144868116"/>
            <ac:spMk id="8" creationId="{0C65825F-5523-B26C-2676-81B5972C0372}"/>
          </ac:spMkLst>
        </pc:spChg>
        <pc:spChg chg="add mod">
          <ac:chgData name="Brown, Peter" userId="34fe0430-42e1-4120-9d39-668328cfa1f0" providerId="ADAL" clId="{212202D4-3E17-44EB-9FA4-907557E40392}" dt="2022-11-03T10:12:31.756" v="622" actId="207"/>
          <ac:spMkLst>
            <pc:docMk/>
            <pc:sldMk cId="1853640568" sldId="2144868116"/>
            <ac:spMk id="9" creationId="{F4394EDA-2933-B77E-C683-2ED994C29742}"/>
          </ac:spMkLst>
        </pc:spChg>
        <pc:spChg chg="add mod">
          <ac:chgData name="Brown, Peter" userId="34fe0430-42e1-4120-9d39-668328cfa1f0" providerId="ADAL" clId="{212202D4-3E17-44EB-9FA4-907557E40392}" dt="2022-11-03T10:12:35.355" v="623" actId="207"/>
          <ac:spMkLst>
            <pc:docMk/>
            <pc:sldMk cId="1853640568" sldId="2144868116"/>
            <ac:spMk id="10" creationId="{888E5FFE-30D9-9D8A-4009-462A43BB5615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11" creationId="{DF60A306-51CB-68CA-90C2-4EC3DB173D54}"/>
          </ac:spMkLst>
        </pc:spChg>
        <pc:spChg chg="add mod">
          <ac:chgData name="Brown, Peter" userId="34fe0430-42e1-4120-9d39-668328cfa1f0" providerId="ADAL" clId="{212202D4-3E17-44EB-9FA4-907557E40392}" dt="2022-11-03T10:12:28.318" v="621" actId="207"/>
          <ac:spMkLst>
            <pc:docMk/>
            <pc:sldMk cId="1853640568" sldId="2144868116"/>
            <ac:spMk id="12" creationId="{54BA7F36-56CA-A7DF-7744-01364D30302F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13" creationId="{C83D1DE6-1F2D-1ADE-C07F-5E3DDF020E3C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14" creationId="{473BE628-927A-98BD-7F2D-5D4D4C60E7AC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15" creationId="{BCAB3324-3E0D-865C-95FF-AC31DCA460E9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16" creationId="{05C2473F-9B5C-289C-BCD4-60128754EB0A}"/>
          </ac:spMkLst>
        </pc:spChg>
        <pc:spChg chg="add mod">
          <ac:chgData name="Brown, Peter" userId="34fe0430-42e1-4120-9d39-668328cfa1f0" providerId="ADAL" clId="{212202D4-3E17-44EB-9FA4-907557E40392}" dt="2022-11-03T10:12:03.181" v="616" actId="207"/>
          <ac:spMkLst>
            <pc:docMk/>
            <pc:sldMk cId="1853640568" sldId="2144868116"/>
            <ac:spMk id="17" creationId="{0B3538B8-E9E4-8371-DEA7-DD6CB02D596E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18" creationId="{EB00B145-E2B6-FAED-EE63-25A417200385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19" creationId="{09FFCD76-A4AD-2A2A-6369-EC3C0315354F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20" creationId="{10D82BC4-60CA-D808-53D8-B36D78269AF6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21" creationId="{47588DA7-7791-5A39-C696-EBC9711F5CA5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22" creationId="{8E265DC0-1C5B-1737-FE40-FE7AA84AEB96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23" creationId="{E9881B0D-67C9-B8A9-DACF-A99EB2C2FA05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24" creationId="{2A3F0918-78C3-B034-4596-20A2E9E64EAD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25" creationId="{450C29DD-A0CA-FA70-404A-85FD5B88387F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26" creationId="{B0C4C1D9-3E93-92F3-032D-6BCFD23FD456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27" creationId="{8B9598C1-8A83-19C4-4495-CAA56B397935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28" creationId="{C8BAE7CD-A138-C644-AB1C-3355FBFC7B8A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29" creationId="{D2875B7C-84DE-3CE2-FA85-180A0E653965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30" creationId="{51429739-E348-9B5D-40D2-B745BC88A2D9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31" creationId="{53DCA420-82B4-CC72-E232-555F75115F8E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32" creationId="{652A5DE1-C057-19E4-F8AE-3BC23A73C3DC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33" creationId="{53B66DB9-628D-C97D-A226-61AEC4485E6C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34" creationId="{95186EC1-2A70-D410-D007-9ED14B6EC970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35" creationId="{6F2630B9-8EBD-8498-43DE-02B6245B107A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36" creationId="{DC74C593-5AB8-9D26-DD9B-3BA62913409E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37" creationId="{C20C2DA5-632E-CB8A-E850-AAA1F2FD9CA3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38" creationId="{AAA152FB-615A-175A-6742-3D985B2B4604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39" creationId="{EA2FE113-E72A-4C11-70BF-65E03A5F0E33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40" creationId="{4D56DF99-B406-96E8-82FF-6BF56B36A16C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41" creationId="{FDBE5F3D-FD5F-1DA3-1946-57E9DC909D7A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42" creationId="{F859354B-9F92-5BF0-4958-E0993F13F10C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43" creationId="{568B820B-F9CA-C267-5306-F5ACCDB8223F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44" creationId="{09DE9BF6-2970-CC20-9EEC-F6A6C50CAC57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45" creationId="{5EF95F03-AEEE-F593-E516-CDAD2D426935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46" creationId="{1F07B9DE-11BE-DFD6-D35A-4B41A9DF6CA4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47" creationId="{BF32A06C-7E52-42A6-AF8C-AE184668AF0D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48" creationId="{4BEBD335-4A1E-D8AA-0B43-5F2DE67A4618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49" creationId="{A85CED65-F716-2E11-B826-0AA2BE3EA91C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50" creationId="{6EE1FA24-388F-662B-E913-F4AB768B3D11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51" creationId="{990034C9-3F98-4D13-BD37-83B7ACB12B5F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52" creationId="{987041E9-94B4-C7B7-C801-3344530C0708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53" creationId="{BFEACBA8-09D1-DDFA-1EAD-3D90B64F3134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54" creationId="{101C32F3-6D62-1E6C-D453-FE3A1AABBA4D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55" creationId="{365847A9-A089-8875-C3BF-AF7458979BC1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56" creationId="{B032D85B-B598-2603-6937-C14AE1016A16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57" creationId="{5C81A535-A0A6-78DA-6394-FCCF5976631D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58" creationId="{4D51ED3E-F15E-A824-0EED-F7B7D766D04A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59" creationId="{CE4292B2-6E17-6BC5-2E67-AACB8F1672AC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60" creationId="{615DAF35-A4F0-BB59-4EAE-777705DF732D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61" creationId="{2DF9C4B7-4435-DE5B-A897-7AD2BBE6A304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62" creationId="{D6DE3137-4845-2402-2FA5-A2322142FC59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63" creationId="{2E4569B4-B529-B2A1-E729-EB1A8F7ECA3C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64" creationId="{8857A307-0C87-B3E4-5EA9-2D8F36710242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65" creationId="{397A0624-C0D3-F8D9-ED5D-860916EDC655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66" creationId="{9A34F129-35AB-E128-EFF6-E502EA291AFD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67" creationId="{2DE4615B-2CBE-9AAF-8AFC-3DDD57385296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68" creationId="{5FE5A523-327B-5D60-8FF3-75DEA6815E99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69" creationId="{8087AFD1-C067-61E2-62F8-0D985E5319F2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70" creationId="{5C2761A2-6130-3729-E10F-1A01F37F78F0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71" creationId="{EE37078F-78D3-E222-ED0A-9FE668874A86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72" creationId="{AF669597-4219-8A59-C4B3-A67D83E402C9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73" creationId="{13E797D9-11E2-0C20-4E24-19A2B9DB304C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74" creationId="{26357712-B35B-64DF-82F4-84E4EB6AB654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75" creationId="{0299D0B5-5645-D932-6AFE-A8EAF645D400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76" creationId="{97CB270E-9EC9-CE74-BB8D-65D40F8F2CDE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77" creationId="{1477C140-3F6D-45EC-01B9-0227E49CF00C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78" creationId="{E0192B59-9104-57B0-B45E-A13B221ED2E1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79" creationId="{D0E83111-981E-9A9E-5BBE-6E6195D8A065}"/>
          </ac:spMkLst>
        </pc:spChg>
        <pc:spChg chg="add mod">
          <ac:chgData name="Brown, Peter" userId="34fe0430-42e1-4120-9d39-668328cfa1f0" providerId="ADAL" clId="{212202D4-3E17-44EB-9FA4-907557E40392}" dt="2022-11-03T10:12:10.670" v="617" actId="207"/>
          <ac:spMkLst>
            <pc:docMk/>
            <pc:sldMk cId="1853640568" sldId="2144868116"/>
            <ac:spMk id="80" creationId="{80FD1640-7637-A735-33F6-2CF0809F579D}"/>
          </ac:spMkLst>
        </pc:spChg>
        <pc:spChg chg="add mod">
          <ac:chgData name="Brown, Peter" userId="34fe0430-42e1-4120-9d39-668328cfa1f0" providerId="ADAL" clId="{212202D4-3E17-44EB-9FA4-907557E40392}" dt="2022-11-03T10:12:13.920" v="618" actId="207"/>
          <ac:spMkLst>
            <pc:docMk/>
            <pc:sldMk cId="1853640568" sldId="2144868116"/>
            <ac:spMk id="81" creationId="{47801556-F695-7397-2A25-FF6D701F33DD}"/>
          </ac:spMkLst>
        </pc:spChg>
        <pc:spChg chg="add mod">
          <ac:chgData name="Brown, Peter" userId="34fe0430-42e1-4120-9d39-668328cfa1f0" providerId="ADAL" clId="{212202D4-3E17-44EB-9FA4-907557E40392}" dt="2022-11-03T10:12:18.691" v="619" actId="207"/>
          <ac:spMkLst>
            <pc:docMk/>
            <pc:sldMk cId="1853640568" sldId="2144868116"/>
            <ac:spMk id="82" creationId="{E2499E5E-E07F-C684-B3C5-F7A4D299A205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83" creationId="{D89B7A96-6C83-C1C2-1227-C413511AC63F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84" creationId="{7D98B8C2-6D87-DC88-8E37-432FD8EDD2C8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85" creationId="{F4C60DE9-3A7E-AB49-EF85-F891AABB4E60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86" creationId="{E343908C-201B-1EDA-5693-AF8658A343DF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87" creationId="{25BAA111-7CDF-A1DF-9BC1-6264AFC84DA2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88" creationId="{FA320A85-A311-A594-1533-E5B2FB5AD94F}"/>
          </ac:spMkLst>
        </pc:spChg>
        <pc:spChg chg="add mod">
          <ac:chgData name="Brown, Peter" userId="34fe0430-42e1-4120-9d39-668328cfa1f0" providerId="ADAL" clId="{212202D4-3E17-44EB-9FA4-907557E40392}" dt="2022-11-03T10:11:50.581" v="614" actId="1038"/>
          <ac:spMkLst>
            <pc:docMk/>
            <pc:sldMk cId="1853640568" sldId="2144868116"/>
            <ac:spMk id="89" creationId="{0EB6E624-0ED6-AFAD-2777-885D019BF1BF}"/>
          </ac:spMkLst>
        </pc:spChg>
        <pc:spChg chg="add mod">
          <ac:chgData name="Brown, Peter" userId="34fe0430-42e1-4120-9d39-668328cfa1f0" providerId="ADAL" clId="{212202D4-3E17-44EB-9FA4-907557E40392}" dt="2022-11-03T10:11:59.968" v="615" actId="207"/>
          <ac:spMkLst>
            <pc:docMk/>
            <pc:sldMk cId="1853640568" sldId="2144868116"/>
            <ac:spMk id="90" creationId="{9B58B65C-99F4-985D-CE91-2F0936FAF9B5}"/>
          </ac:spMkLst>
        </pc:spChg>
        <pc:spChg chg="mod">
          <ac:chgData name="Brown, Peter" userId="34fe0430-42e1-4120-9d39-668328cfa1f0" providerId="ADAL" clId="{212202D4-3E17-44EB-9FA4-907557E40392}" dt="2022-11-03T10:11:38.566" v="535"/>
          <ac:spMkLst>
            <pc:docMk/>
            <pc:sldMk cId="1853640568" sldId="2144868116"/>
            <ac:spMk id="92" creationId="{44A9BCCF-3C9C-DB4A-72CC-D35BFA230858}"/>
          </ac:spMkLst>
        </pc:spChg>
        <pc:spChg chg="mod">
          <ac:chgData name="Brown, Peter" userId="34fe0430-42e1-4120-9d39-668328cfa1f0" providerId="ADAL" clId="{212202D4-3E17-44EB-9FA4-907557E40392}" dt="2022-11-03T10:11:38.566" v="535"/>
          <ac:spMkLst>
            <pc:docMk/>
            <pc:sldMk cId="1853640568" sldId="2144868116"/>
            <ac:spMk id="93" creationId="{4674F775-DB5B-3450-68BA-68E7CC6B5BF0}"/>
          </ac:spMkLst>
        </pc:spChg>
        <pc:spChg chg="mod">
          <ac:chgData name="Brown, Peter" userId="34fe0430-42e1-4120-9d39-668328cfa1f0" providerId="ADAL" clId="{212202D4-3E17-44EB-9FA4-907557E40392}" dt="2022-11-03T10:11:38.566" v="535"/>
          <ac:spMkLst>
            <pc:docMk/>
            <pc:sldMk cId="1853640568" sldId="2144868116"/>
            <ac:spMk id="94" creationId="{6DD9529C-04A5-5CD5-AEEA-9273BB409033}"/>
          </ac:spMkLst>
        </pc:spChg>
        <pc:spChg chg="mod">
          <ac:chgData name="Brown, Peter" userId="34fe0430-42e1-4120-9d39-668328cfa1f0" providerId="ADAL" clId="{212202D4-3E17-44EB-9FA4-907557E40392}" dt="2022-11-03T10:11:38.566" v="535"/>
          <ac:spMkLst>
            <pc:docMk/>
            <pc:sldMk cId="1853640568" sldId="2144868116"/>
            <ac:spMk id="96" creationId="{774A07F6-2E1E-F202-6527-9781FF1D56FD}"/>
          </ac:spMkLst>
        </pc:spChg>
        <pc:spChg chg="mod">
          <ac:chgData name="Brown, Peter" userId="34fe0430-42e1-4120-9d39-668328cfa1f0" providerId="ADAL" clId="{212202D4-3E17-44EB-9FA4-907557E40392}" dt="2022-11-03T10:11:38.566" v="535"/>
          <ac:spMkLst>
            <pc:docMk/>
            <pc:sldMk cId="1853640568" sldId="2144868116"/>
            <ac:spMk id="97" creationId="{0CEA9D81-A736-618C-8EA8-F04A0E886B98}"/>
          </ac:spMkLst>
        </pc:spChg>
        <pc:spChg chg="mod">
          <ac:chgData name="Brown, Peter" userId="34fe0430-42e1-4120-9d39-668328cfa1f0" providerId="ADAL" clId="{212202D4-3E17-44EB-9FA4-907557E40392}" dt="2022-11-03T10:11:38.566" v="535"/>
          <ac:spMkLst>
            <pc:docMk/>
            <pc:sldMk cId="1853640568" sldId="2144868116"/>
            <ac:spMk id="98" creationId="{9E96273B-F3AF-C68E-54C5-324E7446379C}"/>
          </ac:spMkLst>
        </pc:spChg>
        <pc:grpChg chg="add mod">
          <ac:chgData name="Brown, Peter" userId="34fe0430-42e1-4120-9d39-668328cfa1f0" providerId="ADAL" clId="{212202D4-3E17-44EB-9FA4-907557E40392}" dt="2022-11-03T10:11:50.581" v="614" actId="1038"/>
          <ac:grpSpMkLst>
            <pc:docMk/>
            <pc:sldMk cId="1853640568" sldId="2144868116"/>
            <ac:grpSpMk id="91" creationId="{85E4E3F0-C8DD-A28E-A0BB-7D7BC87F85A3}"/>
          </ac:grpSpMkLst>
        </pc:grpChg>
        <pc:grpChg chg="add mod">
          <ac:chgData name="Brown, Peter" userId="34fe0430-42e1-4120-9d39-668328cfa1f0" providerId="ADAL" clId="{212202D4-3E17-44EB-9FA4-907557E40392}" dt="2022-11-03T10:11:50.581" v="614" actId="1038"/>
          <ac:grpSpMkLst>
            <pc:docMk/>
            <pc:sldMk cId="1853640568" sldId="2144868116"/>
            <ac:grpSpMk id="95" creationId="{F1CA3FEA-314D-ED2C-E3CA-EA1C69FD7EF9}"/>
          </ac:grpSpMkLst>
        </pc:grpChg>
      </pc:sldChg>
      <pc:sldChg chg="del">
        <pc:chgData name="Brown, Peter" userId="34fe0430-42e1-4120-9d39-668328cfa1f0" providerId="ADAL" clId="{212202D4-3E17-44EB-9FA4-907557E40392}" dt="2022-11-03T10:02:51.581" v="90" actId="47"/>
        <pc:sldMkLst>
          <pc:docMk/>
          <pc:sldMk cId="2647007482" sldId="2144868117"/>
        </pc:sldMkLst>
      </pc:sldChg>
      <pc:sldChg chg="addSp delSp modSp new mod modClrScheme chgLayout modNotesTx">
        <pc:chgData name="Brown, Peter" userId="34fe0430-42e1-4120-9d39-668328cfa1f0" providerId="ADAL" clId="{212202D4-3E17-44EB-9FA4-907557E40392}" dt="2022-11-03T11:54:05.435" v="3724" actId="313"/>
        <pc:sldMkLst>
          <pc:docMk/>
          <pc:sldMk cId="3779662406" sldId="2144868117"/>
        </pc:sldMkLst>
        <pc:spChg chg="mod ord">
          <ac:chgData name="Brown, Peter" userId="34fe0430-42e1-4120-9d39-668328cfa1f0" providerId="ADAL" clId="{212202D4-3E17-44EB-9FA4-907557E40392}" dt="2022-11-03T10:28:16.850" v="1612" actId="700"/>
          <ac:spMkLst>
            <pc:docMk/>
            <pc:sldMk cId="3779662406" sldId="2144868117"/>
            <ac:spMk id="2" creationId="{45C17C01-E679-73DF-0E2F-8B59DC120053}"/>
          </ac:spMkLst>
        </pc:spChg>
        <pc:spChg chg="del mod ord">
          <ac:chgData name="Brown, Peter" userId="34fe0430-42e1-4120-9d39-668328cfa1f0" providerId="ADAL" clId="{212202D4-3E17-44EB-9FA4-907557E40392}" dt="2022-11-03T10:28:16.850" v="1612" actId="700"/>
          <ac:spMkLst>
            <pc:docMk/>
            <pc:sldMk cId="3779662406" sldId="2144868117"/>
            <ac:spMk id="3" creationId="{4C34ED92-79F2-68A1-515D-21DCAD835668}"/>
          </ac:spMkLst>
        </pc:spChg>
        <pc:spChg chg="del">
          <ac:chgData name="Brown, Peter" userId="34fe0430-42e1-4120-9d39-668328cfa1f0" providerId="ADAL" clId="{212202D4-3E17-44EB-9FA4-907557E40392}" dt="2022-11-03T10:28:16.850" v="1612" actId="700"/>
          <ac:spMkLst>
            <pc:docMk/>
            <pc:sldMk cId="3779662406" sldId="2144868117"/>
            <ac:spMk id="4" creationId="{ED29B3C7-7351-0471-5629-77C3B133E9BB}"/>
          </ac:spMkLst>
        </pc:spChg>
        <pc:spChg chg="add mod ord">
          <ac:chgData name="Brown, Peter" userId="34fe0430-42e1-4120-9d39-668328cfa1f0" providerId="ADAL" clId="{212202D4-3E17-44EB-9FA4-907557E40392}" dt="2022-11-03T11:19:35.818" v="3017" actId="20577"/>
          <ac:spMkLst>
            <pc:docMk/>
            <pc:sldMk cId="3779662406" sldId="2144868117"/>
            <ac:spMk id="5" creationId="{8FFE8845-8B93-3FEA-0C6F-427029E8EF06}"/>
          </ac:spMkLst>
        </pc:spChg>
        <pc:picChg chg="add mod">
          <ac:chgData name="Brown, Peter" userId="34fe0430-42e1-4120-9d39-668328cfa1f0" providerId="ADAL" clId="{212202D4-3E17-44EB-9FA4-907557E40392}" dt="2022-11-03T11:52:24.447" v="3630" actId="1036"/>
          <ac:picMkLst>
            <pc:docMk/>
            <pc:sldMk cId="3779662406" sldId="2144868117"/>
            <ac:picMk id="3" creationId="{7AEE60B4-C4A7-61B7-EF5F-5A11197F0BEC}"/>
          </ac:picMkLst>
        </pc:picChg>
      </pc:sldChg>
      <pc:sldChg chg="addSp delSp modSp new mod">
        <pc:chgData name="Brown, Peter" userId="34fe0430-42e1-4120-9d39-668328cfa1f0" providerId="ADAL" clId="{212202D4-3E17-44EB-9FA4-907557E40392}" dt="2022-11-03T11:15:45.210" v="2922" actId="207"/>
        <pc:sldMkLst>
          <pc:docMk/>
          <pc:sldMk cId="1445932239" sldId="2144868118"/>
        </pc:sldMkLst>
        <pc:spChg chg="mod">
          <ac:chgData name="Brown, Peter" userId="34fe0430-42e1-4120-9d39-668328cfa1f0" providerId="ADAL" clId="{212202D4-3E17-44EB-9FA4-907557E40392}" dt="2022-11-03T10:56:57.873" v="2293" actId="255"/>
          <ac:spMkLst>
            <pc:docMk/>
            <pc:sldMk cId="1445932239" sldId="2144868118"/>
            <ac:spMk id="3" creationId="{2DC6E948-8F35-C1DB-A031-2CE9833EADC5}"/>
          </ac:spMkLst>
        </pc:spChg>
        <pc:spChg chg="mod">
          <ac:chgData name="Brown, Peter" userId="34fe0430-42e1-4120-9d39-668328cfa1f0" providerId="ADAL" clId="{212202D4-3E17-44EB-9FA4-907557E40392}" dt="2022-11-03T10:13:55.673" v="748" actId="20577"/>
          <ac:spMkLst>
            <pc:docMk/>
            <pc:sldMk cId="1445932239" sldId="2144868118"/>
            <ac:spMk id="4" creationId="{79501DE2-32DF-C1ED-B8A8-62DD47B509DA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5" creationId="{5925E35C-217E-EE85-DDD9-F4882F59D08A}"/>
          </ac:spMkLst>
        </pc:spChg>
        <pc:spChg chg="add mod">
          <ac:chgData name="Brown, Peter" userId="34fe0430-42e1-4120-9d39-668328cfa1f0" providerId="ADAL" clId="{212202D4-3E17-44EB-9FA4-907557E40392}" dt="2022-11-03T11:15:45.210" v="2922" actId="207"/>
          <ac:spMkLst>
            <pc:docMk/>
            <pc:sldMk cId="1445932239" sldId="2144868118"/>
            <ac:spMk id="6" creationId="{6DD16833-7BEB-53CC-0368-5B58B941A2C5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7" creationId="{267738CD-6FC5-625D-7F9A-8C6D26EFF0D0}"/>
          </ac:spMkLst>
        </pc:spChg>
        <pc:spChg chg="add del mod">
          <ac:chgData name="Brown, Peter" userId="34fe0430-42e1-4120-9d39-668328cfa1f0" providerId="ADAL" clId="{212202D4-3E17-44EB-9FA4-907557E40392}" dt="2022-11-03T10:55:53.816" v="2175" actId="478"/>
          <ac:spMkLst>
            <pc:docMk/>
            <pc:sldMk cId="1445932239" sldId="2144868118"/>
            <ac:spMk id="8" creationId="{F973002A-5085-96E7-7ABE-982741DB6916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9" creationId="{C9EF0690-C5BB-F64C-D0AE-2E82252709DD}"/>
          </ac:spMkLst>
        </pc:spChg>
        <pc:spChg chg="add mod">
          <ac:chgData name="Brown, Peter" userId="34fe0430-42e1-4120-9d39-668328cfa1f0" providerId="ADAL" clId="{212202D4-3E17-44EB-9FA4-907557E40392}" dt="2022-11-03T11:15:38.267" v="2920" actId="207"/>
          <ac:spMkLst>
            <pc:docMk/>
            <pc:sldMk cId="1445932239" sldId="2144868118"/>
            <ac:spMk id="10" creationId="{DB1C8CCA-55D1-F0DD-E348-4177B249BDE7}"/>
          </ac:spMkLst>
        </pc:spChg>
        <pc:spChg chg="add mod">
          <ac:chgData name="Brown, Peter" userId="34fe0430-42e1-4120-9d39-668328cfa1f0" providerId="ADAL" clId="{212202D4-3E17-44EB-9FA4-907557E40392}" dt="2022-11-03T10:14:38.159" v="801" actId="1037"/>
          <ac:spMkLst>
            <pc:docMk/>
            <pc:sldMk cId="1445932239" sldId="2144868118"/>
            <ac:spMk id="11" creationId="{CA3CA548-4ADA-715F-BF0D-400F573A508F}"/>
          </ac:spMkLst>
        </pc:spChg>
        <pc:spChg chg="add mod">
          <ac:chgData name="Brown, Peter" userId="34fe0430-42e1-4120-9d39-668328cfa1f0" providerId="ADAL" clId="{212202D4-3E17-44EB-9FA4-907557E40392}" dt="2022-11-03T11:15:40.730" v="2921" actId="207"/>
          <ac:spMkLst>
            <pc:docMk/>
            <pc:sldMk cId="1445932239" sldId="2144868118"/>
            <ac:spMk id="12" creationId="{053F7092-32E3-6EDD-338A-2E72FC3B7761}"/>
          </ac:spMkLst>
        </pc:spChg>
        <pc:spChg chg="add del mod">
          <ac:chgData name="Brown, Peter" userId="34fe0430-42e1-4120-9d39-668328cfa1f0" providerId="ADAL" clId="{212202D4-3E17-44EB-9FA4-907557E40392}" dt="2022-11-03T10:55:55.774" v="2176" actId="478"/>
          <ac:spMkLst>
            <pc:docMk/>
            <pc:sldMk cId="1445932239" sldId="2144868118"/>
            <ac:spMk id="13" creationId="{BF9E512A-8561-33AE-AF2D-5D4DFDDC8983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14" creationId="{E91DA986-15E5-BDE9-45FB-4A339422EF71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16" creationId="{4901A9A1-FA32-1B32-AF13-9776EFAA36A0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17" creationId="{E40524EB-5CE1-4350-9C96-F477A70C5B6A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18" creationId="{A0A685D1-C0A9-EC5C-7A7D-4A627EFE3A12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19" creationId="{57EBAB0D-D939-6A62-8DDA-1A1C82094695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20" creationId="{591FC703-B7AA-B495-710A-331557C678DE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21" creationId="{FD38EDCB-8B98-9771-4C68-C9FDD0EF671C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22" creationId="{0DC81863-828B-7F77-953E-21A9FA168F5B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23" creationId="{461E26C1-ACDC-E9E0-ED01-019B76C6BF01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24" creationId="{D005BCBB-B66A-658B-FE3E-B263F0185433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25" creationId="{4741D43A-E16E-B866-ADEA-7EC066EE2BC1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26" creationId="{57841A9A-94F8-C397-9BBB-1DAA3B672916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27" creationId="{D6B60B50-CABC-0C56-5D73-65074AAB86EE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28" creationId="{BCBF2E33-B6DE-5353-74D7-90D3A42A1609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29" creationId="{DE82A056-29F6-50F7-FFE8-66CB948B18B7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30" creationId="{72F0C5E4-0DAC-895D-EE23-3F34630BE1EA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31" creationId="{1823C120-C831-77DB-C6FD-A90D9964BA75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32" creationId="{D7242344-D81E-3664-BB84-8943CB728375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33" creationId="{8639A8E1-E152-0657-865C-706005A92321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34" creationId="{9807AA2D-8B7A-3D73-EB8C-C8812E8154AE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35" creationId="{1FCF1433-68EC-FC9D-DD3E-921AA6F2FA25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36" creationId="{FA0D6115-AE84-BFC6-A920-24A7AA6CFDAC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37" creationId="{60D47484-3409-3D03-4900-C9C366AE95FF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38" creationId="{C8D663D9-C232-4339-8403-72A6764F153C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39" creationId="{56B973FC-410C-14D2-691D-0A69FBD89F76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40" creationId="{AF8A20E0-1D7A-235F-DF3D-FC27D05B5E38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41" creationId="{30164961-AEE1-73C2-F4AF-D410D86EE8D1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42" creationId="{AF513406-B85D-51B6-8C42-609865F538E4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43" creationId="{0B56548B-1FDE-E30A-757E-93321A656E72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44" creationId="{E27BFA5E-F658-EF30-2FB2-F1E37E5B1A3B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45" creationId="{B41D617A-895C-7022-9194-2CE94B2070B9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46" creationId="{21818315-4618-7AED-E56D-EEACEBD69624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47" creationId="{D7E2E728-802A-6447-C72B-1FFB40949005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48" creationId="{C495BC2F-5897-0E91-A7DD-E7B7E3143E81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49" creationId="{D6BF4DF4-403F-1DC4-1D2F-DAE9F1E5BDEE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50" creationId="{3462F0FA-2CA9-A342-B005-4E88C3D0240F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51" creationId="{CCA98D70-1652-D9BE-9BB3-50244E49FDEA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52" creationId="{BE84CD91-8F52-78B3-035B-BFBFBB8C7C06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53" creationId="{BAF44802-A3E3-7B05-9BA3-359B41F02461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54" creationId="{D6EF24A5-5433-CB18-76E9-9F64E1EBCFEC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55" creationId="{330B78BF-FBC4-DC51-26D9-F05479437EC1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56" creationId="{3CEC6222-0C56-D38F-A60F-A53FA2A2E758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57" creationId="{C2B09519-FC8F-904C-1B1B-ABAA7A8DBB19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58" creationId="{58614250-91E5-C693-B39A-0271C27600B4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59" creationId="{8FB9E9B3-AEC7-B57C-C9E0-D1B09E744006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60" creationId="{CC897648-DE79-DFFA-82C2-8287C085555E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61" creationId="{61429BFE-3D11-4BD2-14D6-26E345212BA7}"/>
          </ac:spMkLst>
        </pc:spChg>
        <pc:spChg chg="add del mod">
          <ac:chgData name="Brown, Peter" userId="34fe0430-42e1-4120-9d39-668328cfa1f0" providerId="ADAL" clId="{212202D4-3E17-44EB-9FA4-907557E40392}" dt="2022-11-03T10:55:45.205" v="2173" actId="478"/>
          <ac:spMkLst>
            <pc:docMk/>
            <pc:sldMk cId="1445932239" sldId="2144868118"/>
            <ac:spMk id="62" creationId="{91104E33-D3D6-E320-1E2C-CF170328D341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63" creationId="{C87380A2-A955-E0B8-6FB2-8D90E82132B8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65" creationId="{A5176ABF-6B8E-07B8-8DDB-3AC2EA87AC6B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66" creationId="{CA59DA4C-9178-9F3C-8FDB-A99CFFB69000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67" creationId="{045478DF-4946-0F6B-C19C-6F9C1AF3E554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68" creationId="{04F07469-E0EF-51BA-9151-3617D77BB0C2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69" creationId="{F7625E8A-36F3-CDA9-83C3-128D9EF73B7C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70" creationId="{9BE46FBD-4CA3-AD05-01F4-31699CEDCF5E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71" creationId="{42CB3355-8296-127D-16F1-2F2F952AFF89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72" creationId="{7542870F-EF25-2380-A5D8-E7311A4F6734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73" creationId="{C0F07E9C-40D1-7353-67FE-B08EB1FC143D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74" creationId="{1764F797-4424-7980-A711-EDC6F8C103BE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75" creationId="{61220D1D-2A01-ECE6-E4B1-3DDE784771E5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76" creationId="{6C7C325A-0E2C-84A8-19E8-5E64C6EB2398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77" creationId="{789A02C4-3DDE-D1E6-1013-1539D13D8BA4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78" creationId="{0E015BB1-7E83-BCA5-9089-97E22BC6DCD8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79" creationId="{492EB416-C267-7A7C-E40C-E06A4901D5C9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80" creationId="{205D125B-B1E0-9CCF-9BA8-48587D2AB2C4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81" creationId="{6AC3EF3D-37BE-361F-5824-D909BA37F09F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82" creationId="{6E024AAC-F052-116B-DE15-25732984BFA3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83" creationId="{8714C23C-44CE-3B64-9C22-A2C079E54DF9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84" creationId="{AF206414-9D90-35AC-7DA5-D4430BD05C91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85" creationId="{4AA52E06-4585-CC63-E0A5-E3BD58936879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86" creationId="{63131308-7226-678B-6146-A6BAB798FEC3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87" creationId="{05EABF82-10D9-7F93-FF78-F54A711E6D9D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88" creationId="{DA53E76B-E72C-017F-60F7-E97CDEACDE69}"/>
          </ac:spMkLst>
        </pc:spChg>
        <pc:spChg chg="add del mod">
          <ac:chgData name="Brown, Peter" userId="34fe0430-42e1-4120-9d39-668328cfa1f0" providerId="ADAL" clId="{212202D4-3E17-44EB-9FA4-907557E40392}" dt="2022-11-03T10:55:45.205" v="2173" actId="478"/>
          <ac:spMkLst>
            <pc:docMk/>
            <pc:sldMk cId="1445932239" sldId="2144868118"/>
            <ac:spMk id="89" creationId="{EEE45549-92F3-D069-2EAB-6A44F4247411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90" creationId="{043E072B-F796-62F5-D553-C438C6A56D4A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91" creationId="{0394420E-342C-77D5-7DFE-06BBA6493FE3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92" creationId="{0F71C226-8516-D613-5CE5-1832A6A71F2A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93" creationId="{EA57D82E-441E-D99B-3E83-3DFDA53EC3DB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94" creationId="{8A867A77-29A0-4A57-CAEF-F1CA5D3BA306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95" creationId="{E5264056-635C-4514-ED01-8278AB50F0DB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96" creationId="{2749D59F-1F26-D5C4-58CE-E234F1747C1A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97" creationId="{3DE0B3B7-4F45-3A42-B05B-24EAC8B224A7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98" creationId="{B87CD7E8-BC86-39BC-1226-4AA4F145E9A4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99" creationId="{E45C5FEC-4C62-6343-C43A-5A522B5A9BAB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100" creationId="{3C6E9544-2B80-11AD-11A3-368B1CE7FC60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101" creationId="{F0335124-AF27-0187-6898-6A2990BCF608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102" creationId="{53BEAED9-CE08-51B3-2BBE-BE57EF024E86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103" creationId="{9E335296-2EE5-7965-187F-274E9EE3C6D1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104" creationId="{AB07B705-50A7-1C6B-840A-5B7FA03AAF83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105" creationId="{E6392FD8-CBEA-D400-E1DD-1A2740600490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106" creationId="{04AE0B58-0C10-D228-6558-5BE74E00F702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107" creationId="{AFA60D9D-5CDA-784F-4598-6B9F5EC5A9A0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108" creationId="{D89DA347-BC89-0CF8-A877-09D1850878FA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109" creationId="{1AB155D9-0832-BD47-3D21-40771B6462AA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110" creationId="{B7959E59-A0C7-B0C9-3C71-0B41EC5C4A42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111" creationId="{89B074B3-697F-7830-14CD-81032DF4068F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112" creationId="{E68B2112-FE38-2937-3B15-35E75355E473}"/>
          </ac:spMkLst>
        </pc:spChg>
        <pc:spChg chg="add del mod">
          <ac:chgData name="Brown, Peter" userId="34fe0430-42e1-4120-9d39-668328cfa1f0" providerId="ADAL" clId="{212202D4-3E17-44EB-9FA4-907557E40392}" dt="2022-11-03T10:55:50.801" v="2174" actId="478"/>
          <ac:spMkLst>
            <pc:docMk/>
            <pc:sldMk cId="1445932239" sldId="2144868118"/>
            <ac:spMk id="113" creationId="{4D476060-5573-4EA5-C4B0-F3393EC87085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115" creationId="{179A8188-2A9C-3F53-AF9F-60A259B3BA9F}"/>
          </ac:spMkLst>
        </pc:spChg>
        <pc:spChg chg="mod">
          <ac:chgData name="Brown, Peter" userId="34fe0430-42e1-4120-9d39-668328cfa1f0" providerId="ADAL" clId="{212202D4-3E17-44EB-9FA4-907557E40392}" dt="2022-11-03T10:14:33.916" v="753"/>
          <ac:spMkLst>
            <pc:docMk/>
            <pc:sldMk cId="1445932239" sldId="2144868118"/>
            <ac:spMk id="116" creationId="{1C21F1B6-BD7C-9CA1-8227-8143E4BE42D1}"/>
          </ac:spMkLst>
        </pc:spChg>
        <pc:spChg chg="add del mod">
          <ac:chgData name="Brown, Peter" userId="34fe0430-42e1-4120-9d39-668328cfa1f0" providerId="ADAL" clId="{212202D4-3E17-44EB-9FA4-907557E40392}" dt="2022-11-03T10:55:57.932" v="2177" actId="478"/>
          <ac:spMkLst>
            <pc:docMk/>
            <pc:sldMk cId="1445932239" sldId="2144868118"/>
            <ac:spMk id="117" creationId="{A7C0A529-7FFE-557A-2179-AC537AAA9F52}"/>
          </ac:spMkLst>
        </pc:spChg>
        <pc:spChg chg="add mod">
          <ac:chgData name="Brown, Peter" userId="34fe0430-42e1-4120-9d39-668328cfa1f0" providerId="ADAL" clId="{212202D4-3E17-44EB-9FA4-907557E40392}" dt="2022-11-03T10:57:09.547" v="2303" actId="1036"/>
          <ac:spMkLst>
            <pc:docMk/>
            <pc:sldMk cId="1445932239" sldId="2144868118"/>
            <ac:spMk id="118" creationId="{3453C5A1-7CDD-456A-BE61-00EDC14E416F}"/>
          </ac:spMkLst>
        </pc:spChg>
        <pc:grpChg chg="add del mod">
          <ac:chgData name="Brown, Peter" userId="34fe0430-42e1-4120-9d39-668328cfa1f0" providerId="ADAL" clId="{212202D4-3E17-44EB-9FA4-907557E40392}" dt="2022-11-03T10:55:45.205" v="2173" actId="478"/>
          <ac:grpSpMkLst>
            <pc:docMk/>
            <pc:sldMk cId="1445932239" sldId="2144868118"/>
            <ac:grpSpMk id="15" creationId="{26E17805-3DFB-CF67-9742-7132FE7B3479}"/>
          </ac:grpSpMkLst>
        </pc:grpChg>
        <pc:grpChg chg="add del mod">
          <ac:chgData name="Brown, Peter" userId="34fe0430-42e1-4120-9d39-668328cfa1f0" providerId="ADAL" clId="{212202D4-3E17-44EB-9FA4-907557E40392}" dt="2022-11-03T10:55:50.801" v="2174" actId="478"/>
          <ac:grpSpMkLst>
            <pc:docMk/>
            <pc:sldMk cId="1445932239" sldId="2144868118"/>
            <ac:grpSpMk id="64" creationId="{A10647F0-E5C7-182C-7153-F4FC8CDD2449}"/>
          </ac:grpSpMkLst>
        </pc:grpChg>
        <pc:grpChg chg="add del mod">
          <ac:chgData name="Brown, Peter" userId="34fe0430-42e1-4120-9d39-668328cfa1f0" providerId="ADAL" clId="{212202D4-3E17-44EB-9FA4-907557E40392}" dt="2022-11-03T10:55:50.801" v="2174" actId="478"/>
          <ac:grpSpMkLst>
            <pc:docMk/>
            <pc:sldMk cId="1445932239" sldId="2144868118"/>
            <ac:grpSpMk id="114" creationId="{2B2A3F74-3532-1892-2DF4-EE67135871D8}"/>
          </ac:grpSpMkLst>
        </pc:grpChg>
        <pc:picChg chg="add mod">
          <ac:chgData name="Brown, Peter" userId="34fe0430-42e1-4120-9d39-668328cfa1f0" providerId="ADAL" clId="{212202D4-3E17-44EB-9FA4-907557E40392}" dt="2022-11-03T10:57:09.547" v="2303" actId="1036"/>
          <ac:picMkLst>
            <pc:docMk/>
            <pc:sldMk cId="1445932239" sldId="2144868118"/>
            <ac:picMk id="123" creationId="{BAB5CF48-E0E8-019C-A55D-714E684E4B64}"/>
          </ac:picMkLst>
        </pc:picChg>
        <pc:picChg chg="add mod">
          <ac:chgData name="Brown, Peter" userId="34fe0430-42e1-4120-9d39-668328cfa1f0" providerId="ADAL" clId="{212202D4-3E17-44EB-9FA4-907557E40392}" dt="2022-11-03T10:57:09.547" v="2303" actId="1036"/>
          <ac:picMkLst>
            <pc:docMk/>
            <pc:sldMk cId="1445932239" sldId="2144868118"/>
            <ac:picMk id="124" creationId="{FA7BC63B-271C-09C4-520A-C57742FA9586}"/>
          </ac:picMkLst>
        </pc:picChg>
        <pc:picChg chg="add mod">
          <ac:chgData name="Brown, Peter" userId="34fe0430-42e1-4120-9d39-668328cfa1f0" providerId="ADAL" clId="{212202D4-3E17-44EB-9FA4-907557E40392}" dt="2022-11-03T10:57:09.547" v="2303" actId="1036"/>
          <ac:picMkLst>
            <pc:docMk/>
            <pc:sldMk cId="1445932239" sldId="2144868118"/>
            <ac:picMk id="125" creationId="{36D2A575-A1DD-CCA5-1411-2300509CCC82}"/>
          </ac:picMkLst>
        </pc:picChg>
        <pc:picChg chg="add mod">
          <ac:chgData name="Brown, Peter" userId="34fe0430-42e1-4120-9d39-668328cfa1f0" providerId="ADAL" clId="{212202D4-3E17-44EB-9FA4-907557E40392}" dt="2022-11-03T10:58:51.257" v="2331" actId="1036"/>
          <ac:picMkLst>
            <pc:docMk/>
            <pc:sldMk cId="1445932239" sldId="2144868118"/>
            <ac:picMk id="127" creationId="{D23E1F20-4837-FC06-E30E-3C9838A395C8}"/>
          </ac:picMkLst>
        </pc:picChg>
        <pc:cxnChg chg="add mod">
          <ac:chgData name="Brown, Peter" userId="34fe0430-42e1-4120-9d39-668328cfa1f0" providerId="ADAL" clId="{212202D4-3E17-44EB-9FA4-907557E40392}" dt="2022-11-03T10:57:31.998" v="2304" actId="14100"/>
          <ac:cxnSpMkLst>
            <pc:docMk/>
            <pc:sldMk cId="1445932239" sldId="2144868118"/>
            <ac:cxnSpMk id="119" creationId="{33944245-5C57-CA96-8339-14ADA1AEF218}"/>
          </ac:cxnSpMkLst>
        </pc:cxnChg>
        <pc:cxnChg chg="add mod">
          <ac:chgData name="Brown, Peter" userId="34fe0430-42e1-4120-9d39-668328cfa1f0" providerId="ADAL" clId="{212202D4-3E17-44EB-9FA4-907557E40392}" dt="2022-11-03T10:57:09.547" v="2303" actId="1036"/>
          <ac:cxnSpMkLst>
            <pc:docMk/>
            <pc:sldMk cId="1445932239" sldId="2144868118"/>
            <ac:cxnSpMk id="120" creationId="{E67EF19E-7033-0A7E-A907-898B05BEF6C2}"/>
          </ac:cxnSpMkLst>
        </pc:cxnChg>
        <pc:cxnChg chg="add mod">
          <ac:chgData name="Brown, Peter" userId="34fe0430-42e1-4120-9d39-668328cfa1f0" providerId="ADAL" clId="{212202D4-3E17-44EB-9FA4-907557E40392}" dt="2022-11-03T10:57:09.547" v="2303" actId="1036"/>
          <ac:cxnSpMkLst>
            <pc:docMk/>
            <pc:sldMk cId="1445932239" sldId="2144868118"/>
            <ac:cxnSpMk id="121" creationId="{AD38EDA3-8FA3-CF1B-6C09-A7A5C59E7C21}"/>
          </ac:cxnSpMkLst>
        </pc:cxnChg>
        <pc:cxnChg chg="add mod">
          <ac:chgData name="Brown, Peter" userId="34fe0430-42e1-4120-9d39-668328cfa1f0" providerId="ADAL" clId="{212202D4-3E17-44EB-9FA4-907557E40392}" dt="2022-11-03T10:57:09.547" v="2303" actId="1036"/>
          <ac:cxnSpMkLst>
            <pc:docMk/>
            <pc:sldMk cId="1445932239" sldId="2144868118"/>
            <ac:cxnSpMk id="122" creationId="{5D233C69-48C5-153E-FF6D-3D03FEC36770}"/>
          </ac:cxnSpMkLst>
        </pc:cxnChg>
        <pc:cxnChg chg="add mod">
          <ac:chgData name="Brown, Peter" userId="34fe0430-42e1-4120-9d39-668328cfa1f0" providerId="ADAL" clId="{212202D4-3E17-44EB-9FA4-907557E40392}" dt="2022-11-03T10:58:51.257" v="2331" actId="1036"/>
          <ac:cxnSpMkLst>
            <pc:docMk/>
            <pc:sldMk cId="1445932239" sldId="2144868118"/>
            <ac:cxnSpMk id="129" creationId="{19B84040-FB29-A3A6-37FD-9E7D54234B36}"/>
          </ac:cxnSpMkLst>
        </pc:cxnChg>
      </pc:sldChg>
      <pc:sldChg chg="addSp modSp new mod">
        <pc:chgData name="Brown, Peter" userId="34fe0430-42e1-4120-9d39-668328cfa1f0" providerId="ADAL" clId="{212202D4-3E17-44EB-9FA4-907557E40392}" dt="2022-11-04T15:12:28.275" v="4167" actId="208"/>
        <pc:sldMkLst>
          <pc:docMk/>
          <pc:sldMk cId="4042315521" sldId="2144868119"/>
        </pc:sldMkLst>
        <pc:spChg chg="mod">
          <ac:chgData name="Brown, Peter" userId="34fe0430-42e1-4120-9d39-668328cfa1f0" providerId="ADAL" clId="{212202D4-3E17-44EB-9FA4-907557E40392}" dt="2022-11-03T10:15:18.287" v="833" actId="207"/>
          <ac:spMkLst>
            <pc:docMk/>
            <pc:sldMk cId="4042315521" sldId="2144868119"/>
            <ac:spMk id="3" creationId="{1691B654-0E0C-1A15-2E6D-99BB72559174}"/>
          </ac:spMkLst>
        </pc:spChg>
        <pc:spChg chg="mod">
          <ac:chgData name="Brown, Peter" userId="34fe0430-42e1-4120-9d39-668328cfa1f0" providerId="ADAL" clId="{212202D4-3E17-44EB-9FA4-907557E40392}" dt="2022-11-03T10:15:02.371" v="831" actId="20577"/>
          <ac:spMkLst>
            <pc:docMk/>
            <pc:sldMk cId="4042315521" sldId="2144868119"/>
            <ac:spMk id="4" creationId="{7E30A658-7071-1D32-9D0C-F5FADD647853}"/>
          </ac:spMkLst>
        </pc:spChg>
        <pc:spChg chg="add mod">
          <ac:chgData name="Brown, Peter" userId="34fe0430-42e1-4120-9d39-668328cfa1f0" providerId="ADAL" clId="{212202D4-3E17-44EB-9FA4-907557E40392}" dt="2022-11-03T10:15:43.753" v="906" actId="207"/>
          <ac:spMkLst>
            <pc:docMk/>
            <pc:sldMk cId="4042315521" sldId="2144868119"/>
            <ac:spMk id="5" creationId="{8EA40C07-560B-1B6E-32C4-146D962B7915}"/>
          </ac:spMkLst>
        </pc:spChg>
        <pc:spChg chg="add mod">
          <ac:chgData name="Brown, Peter" userId="34fe0430-42e1-4120-9d39-668328cfa1f0" providerId="ADAL" clId="{212202D4-3E17-44EB-9FA4-907557E40392}" dt="2022-11-03T10:15:43.753" v="906" actId="207"/>
          <ac:spMkLst>
            <pc:docMk/>
            <pc:sldMk cId="4042315521" sldId="2144868119"/>
            <ac:spMk id="6" creationId="{D11C8400-B487-EA54-3995-276730901E05}"/>
          </ac:spMkLst>
        </pc:spChg>
        <pc:spChg chg="add mod">
          <ac:chgData name="Brown, Peter" userId="34fe0430-42e1-4120-9d39-668328cfa1f0" providerId="ADAL" clId="{212202D4-3E17-44EB-9FA4-907557E40392}" dt="2022-11-03T10:15:43.753" v="906" actId="207"/>
          <ac:spMkLst>
            <pc:docMk/>
            <pc:sldMk cId="4042315521" sldId="2144868119"/>
            <ac:spMk id="7" creationId="{191CE77E-EFB9-93C0-5AA0-E18DCCFDF874}"/>
          </ac:spMkLst>
        </pc:spChg>
        <pc:spChg chg="mod">
          <ac:chgData name="Brown, Peter" userId="34fe0430-42e1-4120-9d39-668328cfa1f0" providerId="ADAL" clId="{212202D4-3E17-44EB-9FA4-907557E40392}" dt="2022-11-03T10:59:31.769" v="2332" actId="207"/>
          <ac:spMkLst>
            <pc:docMk/>
            <pc:sldMk cId="4042315521" sldId="2144868119"/>
            <ac:spMk id="9" creationId="{AFC7114D-28D1-1951-B316-83A1A60CDED9}"/>
          </ac:spMkLst>
        </pc:spChg>
        <pc:spChg chg="mod">
          <ac:chgData name="Brown, Peter" userId="34fe0430-42e1-4120-9d39-668328cfa1f0" providerId="ADAL" clId="{212202D4-3E17-44EB-9FA4-907557E40392}" dt="2022-11-03T10:59:37.253" v="2333" actId="207"/>
          <ac:spMkLst>
            <pc:docMk/>
            <pc:sldMk cId="4042315521" sldId="2144868119"/>
            <ac:spMk id="10" creationId="{9E02A5B8-91BA-38B2-B06D-77B5126BCEE5}"/>
          </ac:spMkLst>
        </pc:spChg>
        <pc:spChg chg="mod">
          <ac:chgData name="Brown, Peter" userId="34fe0430-42e1-4120-9d39-668328cfa1f0" providerId="ADAL" clId="{212202D4-3E17-44EB-9FA4-907557E40392}" dt="2022-11-04T15:12:22.840" v="4165" actId="208"/>
          <ac:spMkLst>
            <pc:docMk/>
            <pc:sldMk cId="4042315521" sldId="2144868119"/>
            <ac:spMk id="11" creationId="{2D80FAAD-D798-E8AA-9C10-CFEC06F92672}"/>
          </ac:spMkLst>
        </pc:spChg>
        <pc:spChg chg="mod">
          <ac:chgData name="Brown, Peter" userId="34fe0430-42e1-4120-9d39-668328cfa1f0" providerId="ADAL" clId="{212202D4-3E17-44EB-9FA4-907557E40392}" dt="2022-11-04T15:12:06.097" v="4161" actId="208"/>
          <ac:spMkLst>
            <pc:docMk/>
            <pc:sldMk cId="4042315521" sldId="2144868119"/>
            <ac:spMk id="12" creationId="{CA377380-52B7-D793-3A2D-198C01F6B1B0}"/>
          </ac:spMkLst>
        </pc:spChg>
        <pc:spChg chg="mod">
          <ac:chgData name="Brown, Peter" userId="34fe0430-42e1-4120-9d39-668328cfa1f0" providerId="ADAL" clId="{212202D4-3E17-44EB-9FA4-907557E40392}" dt="2022-11-04T15:12:25.479" v="4166" actId="208"/>
          <ac:spMkLst>
            <pc:docMk/>
            <pc:sldMk cId="4042315521" sldId="2144868119"/>
            <ac:spMk id="13" creationId="{09A0389E-4AAE-AAC7-F2FB-4359A23188F6}"/>
          </ac:spMkLst>
        </pc:spChg>
        <pc:spChg chg="mod">
          <ac:chgData name="Brown, Peter" userId="34fe0430-42e1-4120-9d39-668328cfa1f0" providerId="ADAL" clId="{212202D4-3E17-44EB-9FA4-907557E40392}" dt="2022-11-03T10:16:16.613" v="915" actId="207"/>
          <ac:spMkLst>
            <pc:docMk/>
            <pc:sldMk cId="4042315521" sldId="2144868119"/>
            <ac:spMk id="14" creationId="{D553349A-4163-7C23-89BE-4288BEBC8DBE}"/>
          </ac:spMkLst>
        </pc:spChg>
        <pc:spChg chg="mod">
          <ac:chgData name="Brown, Peter" userId="34fe0430-42e1-4120-9d39-668328cfa1f0" providerId="ADAL" clId="{212202D4-3E17-44EB-9FA4-907557E40392}" dt="2022-11-03T10:15:57.762" v="909" actId="207"/>
          <ac:spMkLst>
            <pc:docMk/>
            <pc:sldMk cId="4042315521" sldId="2144868119"/>
            <ac:spMk id="15" creationId="{F8872ED1-A9CF-7439-3445-A65F33AB7149}"/>
          </ac:spMkLst>
        </pc:spChg>
        <pc:spChg chg="mod">
          <ac:chgData name="Brown, Peter" userId="34fe0430-42e1-4120-9d39-668328cfa1f0" providerId="ADAL" clId="{212202D4-3E17-44EB-9FA4-907557E40392}" dt="2022-11-03T10:16:03.708" v="911" actId="207"/>
          <ac:spMkLst>
            <pc:docMk/>
            <pc:sldMk cId="4042315521" sldId="2144868119"/>
            <ac:spMk id="16" creationId="{084B00F6-0F74-7EBC-DDEE-54337B1AF7CE}"/>
          </ac:spMkLst>
        </pc:spChg>
        <pc:spChg chg="mod">
          <ac:chgData name="Brown, Peter" userId="34fe0430-42e1-4120-9d39-668328cfa1f0" providerId="ADAL" clId="{212202D4-3E17-44EB-9FA4-907557E40392}" dt="2022-11-03T10:16:19.754" v="916" actId="207"/>
          <ac:spMkLst>
            <pc:docMk/>
            <pc:sldMk cId="4042315521" sldId="2144868119"/>
            <ac:spMk id="17" creationId="{C6772C79-B684-0205-D525-A3C085003088}"/>
          </ac:spMkLst>
        </pc:spChg>
        <pc:spChg chg="mod">
          <ac:chgData name="Brown, Peter" userId="34fe0430-42e1-4120-9d39-668328cfa1f0" providerId="ADAL" clId="{212202D4-3E17-44EB-9FA4-907557E40392}" dt="2022-11-04T15:12:19.864" v="4164" actId="208"/>
          <ac:spMkLst>
            <pc:docMk/>
            <pc:sldMk cId="4042315521" sldId="2144868119"/>
            <ac:spMk id="18" creationId="{56C295CE-1D80-67DD-EE00-AF39EE0EC2F4}"/>
          </ac:spMkLst>
        </pc:spChg>
        <pc:spChg chg="mod">
          <ac:chgData name="Brown, Peter" userId="34fe0430-42e1-4120-9d39-668328cfa1f0" providerId="ADAL" clId="{212202D4-3E17-44EB-9FA4-907557E40392}" dt="2022-11-04T15:12:11.368" v="4162" actId="208"/>
          <ac:spMkLst>
            <pc:docMk/>
            <pc:sldMk cId="4042315521" sldId="2144868119"/>
            <ac:spMk id="19" creationId="{C6E80BFF-FF34-B053-549E-08606EC09FE6}"/>
          </ac:spMkLst>
        </pc:spChg>
        <pc:spChg chg="mod">
          <ac:chgData name="Brown, Peter" userId="34fe0430-42e1-4120-9d39-668328cfa1f0" providerId="ADAL" clId="{212202D4-3E17-44EB-9FA4-907557E40392}" dt="2022-11-04T15:12:28.275" v="4167" actId="208"/>
          <ac:spMkLst>
            <pc:docMk/>
            <pc:sldMk cId="4042315521" sldId="2144868119"/>
            <ac:spMk id="20" creationId="{EB31E104-D235-C884-C5DC-D3631CB69B9E}"/>
          </ac:spMkLst>
        </pc:spChg>
        <pc:spChg chg="mod">
          <ac:chgData name="Brown, Peter" userId="34fe0430-42e1-4120-9d39-668328cfa1f0" providerId="ADAL" clId="{212202D4-3E17-44EB-9FA4-907557E40392}" dt="2022-11-04T15:12:15.106" v="4163" actId="208"/>
          <ac:spMkLst>
            <pc:docMk/>
            <pc:sldMk cId="4042315521" sldId="2144868119"/>
            <ac:spMk id="21" creationId="{89292C6D-0C61-B54C-768D-DB26D688FF9D}"/>
          </ac:spMkLst>
        </pc:spChg>
        <pc:spChg chg="mod">
          <ac:chgData name="Brown, Peter" userId="34fe0430-42e1-4120-9d39-668328cfa1f0" providerId="ADAL" clId="{212202D4-3E17-44EB-9FA4-907557E40392}" dt="2022-11-03T10:16:10.337" v="913" actId="207"/>
          <ac:spMkLst>
            <pc:docMk/>
            <pc:sldMk cId="4042315521" sldId="2144868119"/>
            <ac:spMk id="22" creationId="{FDEBC0BC-C1F4-C3AC-3D95-A8317FB25435}"/>
          </ac:spMkLst>
        </pc:spChg>
        <pc:spChg chg="mod">
          <ac:chgData name="Brown, Peter" userId="34fe0430-42e1-4120-9d39-668328cfa1f0" providerId="ADAL" clId="{212202D4-3E17-44EB-9FA4-907557E40392}" dt="2022-11-03T10:15:54.462" v="908" actId="207"/>
          <ac:spMkLst>
            <pc:docMk/>
            <pc:sldMk cId="4042315521" sldId="2144868119"/>
            <ac:spMk id="23" creationId="{AA9776C3-BB4A-8A00-2795-1020D1EC0542}"/>
          </ac:spMkLst>
        </pc:spChg>
        <pc:spChg chg="mod">
          <ac:chgData name="Brown, Peter" userId="34fe0430-42e1-4120-9d39-668328cfa1f0" providerId="ADAL" clId="{212202D4-3E17-44EB-9FA4-907557E40392}" dt="2022-11-03T10:16:36.525" v="921" actId="207"/>
          <ac:spMkLst>
            <pc:docMk/>
            <pc:sldMk cId="4042315521" sldId="2144868119"/>
            <ac:spMk id="24" creationId="{135A7B14-22D9-1B34-1A5E-0767CEC85C00}"/>
          </ac:spMkLst>
        </pc:spChg>
        <pc:spChg chg="mod">
          <ac:chgData name="Brown, Peter" userId="34fe0430-42e1-4120-9d39-668328cfa1f0" providerId="ADAL" clId="{212202D4-3E17-44EB-9FA4-907557E40392}" dt="2022-11-03T10:16:26.265" v="918" actId="207"/>
          <ac:spMkLst>
            <pc:docMk/>
            <pc:sldMk cId="4042315521" sldId="2144868119"/>
            <ac:spMk id="25" creationId="{A8F5C224-1423-F529-68E6-79F705E0CBC7}"/>
          </ac:spMkLst>
        </pc:spChg>
        <pc:spChg chg="mod">
          <ac:chgData name="Brown, Peter" userId="34fe0430-42e1-4120-9d39-668328cfa1f0" providerId="ADAL" clId="{212202D4-3E17-44EB-9FA4-907557E40392}" dt="2022-11-04T14:52:55.196" v="3779" actId="1036"/>
          <ac:spMkLst>
            <pc:docMk/>
            <pc:sldMk cId="4042315521" sldId="2144868119"/>
            <ac:spMk id="26" creationId="{5CD97F5C-DCB3-DCC2-70F7-037475E24DC3}"/>
          </ac:spMkLst>
        </pc:spChg>
        <pc:spChg chg="mod">
          <ac:chgData name="Brown, Peter" userId="34fe0430-42e1-4120-9d39-668328cfa1f0" providerId="ADAL" clId="{212202D4-3E17-44EB-9FA4-907557E40392}" dt="2022-11-03T10:15:43.753" v="906" actId="207"/>
          <ac:spMkLst>
            <pc:docMk/>
            <pc:sldMk cId="4042315521" sldId="2144868119"/>
            <ac:spMk id="27" creationId="{9083C19A-EDC1-B96A-6347-22BA900D7AA2}"/>
          </ac:spMkLst>
        </pc:spChg>
        <pc:spChg chg="mod">
          <ac:chgData name="Brown, Peter" userId="34fe0430-42e1-4120-9d39-668328cfa1f0" providerId="ADAL" clId="{212202D4-3E17-44EB-9FA4-907557E40392}" dt="2022-11-03T10:16:33.492" v="920" actId="207"/>
          <ac:spMkLst>
            <pc:docMk/>
            <pc:sldMk cId="4042315521" sldId="2144868119"/>
            <ac:spMk id="28" creationId="{87F60945-6E94-FCCB-747C-1D820FF84D3F}"/>
          </ac:spMkLst>
        </pc:spChg>
        <pc:spChg chg="mod">
          <ac:chgData name="Brown, Peter" userId="34fe0430-42e1-4120-9d39-668328cfa1f0" providerId="ADAL" clId="{212202D4-3E17-44EB-9FA4-907557E40392}" dt="2022-11-03T10:16:41.066" v="922" actId="207"/>
          <ac:spMkLst>
            <pc:docMk/>
            <pc:sldMk cId="4042315521" sldId="2144868119"/>
            <ac:spMk id="29" creationId="{EF80CF55-4220-B99F-66AA-F281EC4A4903}"/>
          </ac:spMkLst>
        </pc:spChg>
        <pc:spChg chg="mod">
          <ac:chgData name="Brown, Peter" userId="34fe0430-42e1-4120-9d39-668328cfa1f0" providerId="ADAL" clId="{212202D4-3E17-44EB-9FA4-907557E40392}" dt="2022-11-03T10:16:22.922" v="917" actId="207"/>
          <ac:spMkLst>
            <pc:docMk/>
            <pc:sldMk cId="4042315521" sldId="2144868119"/>
            <ac:spMk id="30" creationId="{FF78AEF1-5507-A274-DF63-59319722FA55}"/>
          </ac:spMkLst>
        </pc:spChg>
        <pc:spChg chg="mod">
          <ac:chgData name="Brown, Peter" userId="34fe0430-42e1-4120-9d39-668328cfa1f0" providerId="ADAL" clId="{212202D4-3E17-44EB-9FA4-907557E40392}" dt="2022-11-03T10:15:51.408" v="907" actId="207"/>
          <ac:spMkLst>
            <pc:docMk/>
            <pc:sldMk cId="4042315521" sldId="2144868119"/>
            <ac:spMk id="31" creationId="{E8DCACBE-A249-0D46-3AFE-30E065994BC1}"/>
          </ac:spMkLst>
        </pc:spChg>
        <pc:spChg chg="mod">
          <ac:chgData name="Brown, Peter" userId="34fe0430-42e1-4120-9d39-668328cfa1f0" providerId="ADAL" clId="{212202D4-3E17-44EB-9FA4-907557E40392}" dt="2022-11-03T10:16:07.081" v="912" actId="207"/>
          <ac:spMkLst>
            <pc:docMk/>
            <pc:sldMk cId="4042315521" sldId="2144868119"/>
            <ac:spMk id="32" creationId="{39B2F55F-044F-E827-C649-A0368B0039FB}"/>
          </ac:spMkLst>
        </pc:spChg>
        <pc:spChg chg="mod">
          <ac:chgData name="Brown, Peter" userId="34fe0430-42e1-4120-9d39-668328cfa1f0" providerId="ADAL" clId="{212202D4-3E17-44EB-9FA4-907557E40392}" dt="2022-11-03T10:16:13.668" v="914" actId="207"/>
          <ac:spMkLst>
            <pc:docMk/>
            <pc:sldMk cId="4042315521" sldId="2144868119"/>
            <ac:spMk id="33" creationId="{E54E220B-EEEA-4507-35B0-D45CD2140C78}"/>
          </ac:spMkLst>
        </pc:spChg>
        <pc:spChg chg="mod">
          <ac:chgData name="Brown, Peter" userId="34fe0430-42e1-4120-9d39-668328cfa1f0" providerId="ADAL" clId="{212202D4-3E17-44EB-9FA4-907557E40392}" dt="2022-11-03T10:16:00.873" v="910" actId="207"/>
          <ac:spMkLst>
            <pc:docMk/>
            <pc:sldMk cId="4042315521" sldId="2144868119"/>
            <ac:spMk id="34" creationId="{A377D52B-31CA-55C5-0E52-4037A8E36518}"/>
          </ac:spMkLst>
        </pc:spChg>
        <pc:grpChg chg="add mod">
          <ac:chgData name="Brown, Peter" userId="34fe0430-42e1-4120-9d39-668328cfa1f0" providerId="ADAL" clId="{212202D4-3E17-44EB-9FA4-907557E40392}" dt="2022-11-03T10:15:38.774" v="904" actId="1035"/>
          <ac:grpSpMkLst>
            <pc:docMk/>
            <pc:sldMk cId="4042315521" sldId="2144868119"/>
            <ac:grpSpMk id="8" creationId="{1BE08C8C-7EEB-2AB2-9D32-8B529BDC098B}"/>
          </ac:grpSpMkLst>
        </pc:grpChg>
      </pc:sldChg>
      <pc:sldChg chg="addSp modSp new mod">
        <pc:chgData name="Brown, Peter" userId="34fe0430-42e1-4120-9d39-668328cfa1f0" providerId="ADAL" clId="{212202D4-3E17-44EB-9FA4-907557E40392}" dt="2022-11-03T10:25:17.323" v="1366" actId="3064"/>
        <pc:sldMkLst>
          <pc:docMk/>
          <pc:sldMk cId="277521080" sldId="2144868120"/>
        </pc:sldMkLst>
        <pc:spChg chg="mod">
          <ac:chgData name="Brown, Peter" userId="34fe0430-42e1-4120-9d39-668328cfa1f0" providerId="ADAL" clId="{212202D4-3E17-44EB-9FA4-907557E40392}" dt="2022-11-03T10:17:27.905" v="943" actId="20577"/>
          <ac:spMkLst>
            <pc:docMk/>
            <pc:sldMk cId="277521080" sldId="2144868120"/>
            <ac:spMk id="4" creationId="{C6B6BCD6-6E03-19E6-5D46-93246DC15929}"/>
          </ac:spMkLst>
        </pc:spChg>
        <pc:spChg chg="add mod">
          <ac:chgData name="Brown, Peter" userId="34fe0430-42e1-4120-9d39-668328cfa1f0" providerId="ADAL" clId="{212202D4-3E17-44EB-9FA4-907557E40392}" dt="2022-11-03T10:24:54.109" v="1365" actId="1037"/>
          <ac:spMkLst>
            <pc:docMk/>
            <pc:sldMk cId="277521080" sldId="2144868120"/>
            <ac:spMk id="6" creationId="{49D2EDA1-732E-AE5E-BC58-A6E12F6A39D4}"/>
          </ac:spMkLst>
        </pc:spChg>
        <pc:graphicFrameChg chg="add mod modGraphic">
          <ac:chgData name="Brown, Peter" userId="34fe0430-42e1-4120-9d39-668328cfa1f0" providerId="ADAL" clId="{212202D4-3E17-44EB-9FA4-907557E40392}" dt="2022-11-03T10:25:17.323" v="1366" actId="3064"/>
          <ac:graphicFrameMkLst>
            <pc:docMk/>
            <pc:sldMk cId="277521080" sldId="2144868120"/>
            <ac:graphicFrameMk id="5" creationId="{EF0860DC-6633-F1DC-7F7D-AA6F998C6AEE}"/>
          </ac:graphicFrameMkLst>
        </pc:graphicFrameChg>
      </pc:sldChg>
      <pc:sldChg chg="addSp delSp modSp new mod">
        <pc:chgData name="Brown, Peter" userId="34fe0430-42e1-4120-9d39-668328cfa1f0" providerId="ADAL" clId="{212202D4-3E17-44EB-9FA4-907557E40392}" dt="2022-11-03T10:26:36.891" v="1527" actId="207"/>
        <pc:sldMkLst>
          <pc:docMk/>
          <pc:sldMk cId="4029955044" sldId="2144868121"/>
        </pc:sldMkLst>
        <pc:spChg chg="mod">
          <ac:chgData name="Brown, Peter" userId="34fe0430-42e1-4120-9d39-668328cfa1f0" providerId="ADAL" clId="{212202D4-3E17-44EB-9FA4-907557E40392}" dt="2022-11-03T10:25:49.295" v="1390" actId="20577"/>
          <ac:spMkLst>
            <pc:docMk/>
            <pc:sldMk cId="4029955044" sldId="2144868121"/>
            <ac:spMk id="4" creationId="{4DD29DEC-6887-17EB-21A4-4E3D63AE9CAE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5" creationId="{FBBE97F7-58F1-B21F-0C6B-E8C9AEECF343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6" creationId="{92EC7BF0-1D0A-4DDC-73F3-E334DCECAD6E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7" creationId="{CE97A97A-4916-CD29-E907-B076E5F09B7A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8" creationId="{F8108E10-2429-728B-F5B9-7A6B9687EBF6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9" creationId="{F6BF05B5-93CF-CDF6-20E0-63699F18FF8E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10" creationId="{39F4B315-9E66-681A-3B82-1F5EB4F87A24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11" creationId="{066417A4-E01C-C81A-CF3C-B84AF88756E5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12" creationId="{7E9E292D-E153-F1C5-4905-D9FA542E8FAE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13" creationId="{37184470-FB6B-B455-3844-BDC0EB648472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14" creationId="{52010B4D-9CE8-D630-6154-E2AD33204FAE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15" creationId="{8094E0CA-5FAA-FA24-AAB0-34E8EDA12432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16" creationId="{DD2EB434-65B1-FDF9-AB14-2B1D6C9FC6FE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17" creationId="{572CF620-6598-26A1-2005-E4CBBBCE692A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18" creationId="{44C998BC-FBD2-4F1E-F2AC-97B479E89397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19" creationId="{E8914654-6A5D-A21F-4D4C-9DB1A54020D4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20" creationId="{F06EE309-2FAD-6CD1-A0C6-F81E89C0075C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21" creationId="{F4BB074D-1492-1310-BD34-B7872D3B084B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22" creationId="{47BE2C1B-F736-72A0-528A-0D27A2058BCA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23" creationId="{08D7A338-359A-C164-73AE-38324492F550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24" creationId="{D08AEFD1-1CAE-59CF-E6B2-61083EF3FB1E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25" creationId="{2542E487-8460-D743-EABB-34725EE0B02F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26" creationId="{E21A2603-2F4E-F354-E1D1-B90353C4E6B3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27" creationId="{89A53EBE-B09C-D381-B4CE-6A4AD2D89D91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28" creationId="{83B02AB6-0ED6-72FF-C493-DDDA9D3A0053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29" creationId="{9A54B80D-1BCF-BA0C-A6DE-D3B89286EC83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30" creationId="{E4ABF533-3B61-39BE-8E61-DFA4997EEB12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31" creationId="{416129F6-C2DB-F732-8808-8DCC146CC358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32" creationId="{FB6B84A5-F938-8216-201D-53D433FBE6EE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33" creationId="{7E37F770-A456-D02C-9874-F30983E44883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34" creationId="{B77ACB22-A1C2-F675-96AD-3BD4B7885B86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35" creationId="{E56ACE70-F439-D6A1-5741-1AA271610EC4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36" creationId="{8A754D5D-9D7F-8DF8-D5BC-48D41578AA5E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37" creationId="{4ABCDB90-377F-6CAA-5E63-D39643FC6FD9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38" creationId="{300CBBD4-D954-8539-AB83-8A741E15DC8A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39" creationId="{68D985EA-14FA-A3E0-6996-F107C1DE9164}"/>
          </ac:spMkLst>
        </pc:spChg>
        <pc:spChg chg="add del mod">
          <ac:chgData name="Brown, Peter" userId="34fe0430-42e1-4120-9d39-668328cfa1f0" providerId="ADAL" clId="{212202D4-3E17-44EB-9FA4-907557E40392}" dt="2022-11-03T10:26:11.933" v="1423" actId="478"/>
          <ac:spMkLst>
            <pc:docMk/>
            <pc:sldMk cId="4029955044" sldId="2144868121"/>
            <ac:spMk id="40" creationId="{B59B7860-D5B5-2802-1220-E4E637755A02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41" creationId="{30A02136-8594-E311-2FCF-CB710BA13DE2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42" creationId="{7D4DE9AB-5AE2-6076-3FB0-D9C8496C6C38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43" creationId="{2D385972-4776-0155-630B-F0F0F37FC01E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44" creationId="{816E0ACA-2E5C-6039-122F-D55BACB2B625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45" creationId="{DAD4B557-5F00-FA30-87CD-6F876FAACA77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46" creationId="{6953942C-4563-B2F1-8926-3A171FE03FDD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47" creationId="{1CE29382-F695-EE1F-B344-3E5095D8BC1F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48" creationId="{4C7B7DEB-D761-34A2-DE59-D42BD947F15E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49" creationId="{F9CD3050-9988-3FA6-D843-8D6892B3451F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50" creationId="{C2BA647A-C846-3764-B7D3-9AED3749CB60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51" creationId="{8B77E155-1B59-EA99-E3DE-F354E54B6806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52" creationId="{15715C1A-1165-0B8C-75E0-B2C130450275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53" creationId="{D23CE46C-D25D-6876-F354-00E38B984F92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54" creationId="{BD091834-AAEF-385D-82E3-F5368FE1A54C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55" creationId="{1DEE95AF-8799-B0CA-5319-845B1D3FAA4F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56" creationId="{69E4268D-1FBA-B7A3-4F12-192131DF2942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57" creationId="{C171BADD-A128-7460-161B-49C754D97274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58" creationId="{1D717C3F-A075-F219-B178-9E2276AEE707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59" creationId="{ACDA9B58-35F3-F2DA-BA77-67561930EB41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60" creationId="{BF56CBFA-CE64-7676-63B2-B57455A39649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61" creationId="{448B9917-BC0C-6FD7-0A49-D57CAE7A5FFD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62" creationId="{CE3029DA-F167-27F1-EAE9-434E5E5EB4E0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63" creationId="{E6746BD6-EC81-CED6-C953-F3D57451BE77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64" creationId="{C0668365-12B6-35A7-49C9-39FD2B081A33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65" creationId="{D709985A-3BED-4DFC-C565-E24129310D3B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66" creationId="{9D28E500-7751-A645-C61C-299267328524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67" creationId="{365E50E5-5630-A4B4-BF36-55B39363672A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68" creationId="{C899CD90-9675-DE82-671F-90D3CB49F990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69" creationId="{0B3946A7-92EF-539E-36E3-0F01EAB12874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70" creationId="{80FD80CA-E772-D431-D458-8550A7E2D433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71" creationId="{74319D54-09B4-CF02-42F5-4CE6C112DFA8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72" creationId="{964D2026-A873-4C8F-687E-FB9CAF89BE58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73" creationId="{3AD008B7-2282-2831-7455-7246ED0D18D5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74" creationId="{DF645BCC-E8F2-646A-772D-DD570866D5AF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75" creationId="{39FA2C64-462B-9E32-7C36-AE1670458566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76" creationId="{3488B52A-EAFC-814A-230F-02CD63778D7A}"/>
          </ac:spMkLst>
        </pc:spChg>
        <pc:spChg chg="add mod">
          <ac:chgData name="Brown, Peter" userId="34fe0430-42e1-4120-9d39-668328cfa1f0" providerId="ADAL" clId="{212202D4-3E17-44EB-9FA4-907557E40392}" dt="2022-11-03T10:26:36.891" v="1527" actId="207"/>
          <ac:spMkLst>
            <pc:docMk/>
            <pc:sldMk cId="4029955044" sldId="2144868121"/>
            <ac:spMk id="77" creationId="{CBE85A3A-2825-2C8A-10FA-3187B21D152B}"/>
          </ac:spMkLst>
        </pc:spChg>
      </pc:sldChg>
      <pc:sldChg chg="addSp modSp new del mod">
        <pc:chgData name="Brown, Peter" userId="34fe0430-42e1-4120-9d39-668328cfa1f0" providerId="ADAL" clId="{212202D4-3E17-44EB-9FA4-907557E40392}" dt="2022-11-03T11:01:16.126" v="2345" actId="47"/>
        <pc:sldMkLst>
          <pc:docMk/>
          <pc:sldMk cId="1305628815" sldId="2144868122"/>
        </pc:sldMkLst>
        <pc:spChg chg="mod">
          <ac:chgData name="Brown, Peter" userId="34fe0430-42e1-4120-9d39-668328cfa1f0" providerId="ADAL" clId="{212202D4-3E17-44EB-9FA4-907557E40392}" dt="2022-11-03T10:27:17.042" v="1549" actId="20577"/>
          <ac:spMkLst>
            <pc:docMk/>
            <pc:sldMk cId="1305628815" sldId="2144868122"/>
            <ac:spMk id="4" creationId="{CCFF37D2-03FE-4C57-D8D2-7DA99F5E24E8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5" creationId="{BF193675-897B-B890-9540-FA322D0F9B63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6" creationId="{C8DD275F-CEFF-AF5F-A233-2F072E633ECC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7" creationId="{DA04094D-3E07-1F7E-ED8C-A2A221A633C1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8" creationId="{070EBB73-3526-3359-AC94-94EE668B39CF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9" creationId="{2A7C562D-FBD6-4062-C6B6-37C78B5AA63D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10" creationId="{067ED5EA-E1BF-2C41-4DEF-11F05AE3C952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11" creationId="{7EE43D88-9913-046E-0B7B-8444E06AD9CE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12" creationId="{B1728C47-F201-4BD6-96A5-82CFD6A33E32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13" creationId="{631A0A0B-4181-0227-FE0F-9E259640C551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14" creationId="{EA871955-F24C-4FE4-D4F1-AED27741A261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15" creationId="{1E2988F6-5732-08FD-07F1-E3B025CA9C3E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16" creationId="{FF83F302-56C9-91B6-685B-9EB1E3AA2548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17" creationId="{D9084793-975B-7AAA-0ECE-78C20FCD37BB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18" creationId="{A7B3CEF1-B2A6-C535-BF4B-055FD7DD6546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19" creationId="{0ACD213F-0C56-EFDD-7C0C-CD0510332BE1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20" creationId="{A7F0704D-D12E-12D0-08C9-806906A8E5D5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21" creationId="{85AB77CA-1E4A-3CB2-F8F1-6ECE4144B6CB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22" creationId="{FDB2B38A-EE2C-5E4E-1CD2-671137502A9F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23" creationId="{DF1BCF92-601F-B3C6-F09C-E83B7EDCFC21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24" creationId="{E8286949-17B9-9520-B746-9A6D8833265E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25" creationId="{C70CB9C9-D0E7-52ED-CFE6-F1D066AFBB48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26" creationId="{E962BC1C-1116-012B-4218-D78676EC7C87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27" creationId="{51F67239-6B16-16D5-466C-500F500BA524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28" creationId="{820A1360-8586-DCCF-6184-3EA820406EEA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29" creationId="{775835B4-76AE-293E-3176-DE86668EF120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30" creationId="{7475AFF6-E0F0-3873-310B-5D7B443277F2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31" creationId="{E07D801D-F907-857D-13AB-090AB71EE740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32" creationId="{DFCF0D44-4C98-138D-0B0F-9D452B472718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33" creationId="{CC654470-22A6-E858-435E-6B3E108995A8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34" creationId="{C58B0B6F-AE58-8280-7BED-49D32BBAFF30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35" creationId="{BA71F4B4-547A-86DC-300B-866D5B287490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36" creationId="{133C03F5-DF44-0D1A-B57F-B41B0A21078C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37" creationId="{331850AC-76F1-4966-8CD6-F07AD79548B2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38" creationId="{A5674E69-92B9-D525-889E-5379A6BF1777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39" creationId="{CD93D310-1C54-32EF-E8D3-6CD08874A0C9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40" creationId="{93BDBD01-8F6F-E24F-09B0-4351F14F2118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41" creationId="{00F1A3A0-2B2C-479F-8234-BC34EE51CD8D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42" creationId="{E18A63B3-55C7-8AA1-D4E8-430958448648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43" creationId="{51788D16-117F-52F2-0ACB-08D3F6616BE6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44" creationId="{FB063615-C38E-80B9-B475-8D3585A44240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45" creationId="{0A780B09-2321-2C98-ED8D-D86A27B97D0A}"/>
          </ac:spMkLst>
        </pc:spChg>
        <pc:spChg chg="add mod">
          <ac:chgData name="Brown, Peter" userId="34fe0430-42e1-4120-9d39-668328cfa1f0" providerId="ADAL" clId="{212202D4-3E17-44EB-9FA4-907557E40392}" dt="2022-11-03T10:27:41.699" v="1610" actId="207"/>
          <ac:spMkLst>
            <pc:docMk/>
            <pc:sldMk cId="1305628815" sldId="2144868122"/>
            <ac:spMk id="46" creationId="{3AE37502-111A-68DD-5BCB-27C26F30862A}"/>
          </ac:spMkLst>
        </pc:spChg>
      </pc:sldChg>
      <pc:sldChg chg="del">
        <pc:chgData name="Brown, Peter" userId="34fe0430-42e1-4120-9d39-668328cfa1f0" providerId="ADAL" clId="{212202D4-3E17-44EB-9FA4-907557E40392}" dt="2022-11-03T10:02:35.932" v="83" actId="47"/>
        <pc:sldMkLst>
          <pc:docMk/>
          <pc:sldMk cId="326402801" sldId="2144868123"/>
        </pc:sldMkLst>
      </pc:sldChg>
      <pc:sldChg chg="addSp modSp new del modAnim">
        <pc:chgData name="Brown, Peter" userId="34fe0430-42e1-4120-9d39-668328cfa1f0" providerId="ADAL" clId="{212202D4-3E17-44EB-9FA4-907557E40392}" dt="2022-11-03T11:20:37.474" v="3020" actId="47"/>
        <pc:sldMkLst>
          <pc:docMk/>
          <pc:sldMk cId="3636883840" sldId="2144868123"/>
        </pc:sldMkLst>
        <pc:spChg chg="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6" creationId="{5397B8AA-EEBD-AC5A-E93C-E12ABB5605F6}"/>
          </ac:spMkLst>
        </pc:spChg>
        <pc:spChg chg="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7" creationId="{AD57DA40-E990-A79C-00F1-BDF625E12800}"/>
          </ac:spMkLst>
        </pc:spChg>
        <pc:spChg chg="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9" creationId="{375ADA86-6C6E-4DC7-1F22-E50D9DB7CDF8}"/>
          </ac:spMkLst>
        </pc:spChg>
        <pc:spChg chg="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10" creationId="{3C6DFD60-291D-51B4-83B9-DD3B3B69679A}"/>
          </ac:spMkLst>
        </pc:spChg>
        <pc:spChg chg="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12" creationId="{83F6539E-B8B2-3974-6AC9-11CF2A999EBB}"/>
          </ac:spMkLst>
        </pc:spChg>
        <pc:spChg chg="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13" creationId="{E46F86E6-28ED-1DC2-2FB9-4D4AFB3BBEAD}"/>
          </ac:spMkLst>
        </pc:spChg>
        <pc:spChg chg="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15" creationId="{1D22C790-0E61-FC9E-7B9F-C190981DA0F9}"/>
          </ac:spMkLst>
        </pc:spChg>
        <pc:spChg chg="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16" creationId="{CA81BF8C-71AC-86F1-CDAB-2338493877CE}"/>
          </ac:spMkLst>
        </pc:spChg>
        <pc:spChg chg="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18" creationId="{4B9C6FED-6E2C-D9A9-7B1A-895BAEFFB89C}"/>
          </ac:spMkLst>
        </pc:spChg>
        <pc:spChg chg="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19" creationId="{C15E0CD0-F194-E1B6-3AA4-983CD3C0CAA5}"/>
          </ac:spMkLst>
        </pc:spChg>
        <pc:spChg chg="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20" creationId="{31C99530-A07B-BEAE-3C86-C4D6AAE9CE4A}"/>
          </ac:spMkLst>
        </pc:spChg>
        <pc:spChg chg="add 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30" creationId="{98F82F05-F67F-0D55-5F91-0D2580484AA1}"/>
          </ac:spMkLst>
        </pc:spChg>
        <pc:spChg chg="add 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31" creationId="{F1ABF891-B9EE-47A4-708E-745F096424CC}"/>
          </ac:spMkLst>
        </pc:spChg>
        <pc:spChg chg="add 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32" creationId="{80056FF2-D40F-21A4-20DD-FB0FB16C5644}"/>
          </ac:spMkLst>
        </pc:spChg>
        <pc:spChg chg="add 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33" creationId="{AB3E4E8F-F9F1-4F5A-7FD9-73E77BBE9B07}"/>
          </ac:spMkLst>
        </pc:spChg>
        <pc:spChg chg="add 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34" creationId="{0DA72440-DAAE-909B-CBA0-A7AEAC4DCAD0}"/>
          </ac:spMkLst>
        </pc:spChg>
        <pc:spChg chg="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44" creationId="{84495E57-D414-3667-B2FE-790DE15CE794}"/>
          </ac:spMkLst>
        </pc:spChg>
        <pc:spChg chg="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45" creationId="{4DE0412E-8143-CACB-19BB-D8CB9B2A404A}"/>
          </ac:spMkLst>
        </pc:spChg>
        <pc:spChg chg="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47" creationId="{970D2770-8845-1422-78DB-CC3C75A5F843}"/>
          </ac:spMkLst>
        </pc:spChg>
        <pc:spChg chg="mod">
          <ac:chgData name="Brown, Peter" userId="34fe0430-42e1-4120-9d39-668328cfa1f0" providerId="ADAL" clId="{212202D4-3E17-44EB-9FA4-907557E40392}" dt="2022-11-03T11:20:19.915" v="3019"/>
          <ac:spMkLst>
            <pc:docMk/>
            <pc:sldMk cId="3636883840" sldId="2144868123"/>
            <ac:spMk id="48" creationId="{534B3695-DE1B-0C5B-23BE-665186B8366E}"/>
          </ac:spMkLst>
        </pc:spChg>
        <pc:grpChg chg="add mod">
          <ac:chgData name="Brown, Peter" userId="34fe0430-42e1-4120-9d39-668328cfa1f0" providerId="ADAL" clId="{212202D4-3E17-44EB-9FA4-907557E40392}" dt="2022-11-03T11:20:19.915" v="3019"/>
          <ac:grpSpMkLst>
            <pc:docMk/>
            <pc:sldMk cId="3636883840" sldId="2144868123"/>
            <ac:grpSpMk id="5" creationId="{4B3D907D-0EDF-2BD3-BDCB-AA914B4D678A}"/>
          </ac:grpSpMkLst>
        </pc:grpChg>
        <pc:grpChg chg="add mod">
          <ac:chgData name="Brown, Peter" userId="34fe0430-42e1-4120-9d39-668328cfa1f0" providerId="ADAL" clId="{212202D4-3E17-44EB-9FA4-907557E40392}" dt="2022-11-03T11:20:19.915" v="3019"/>
          <ac:grpSpMkLst>
            <pc:docMk/>
            <pc:sldMk cId="3636883840" sldId="2144868123"/>
            <ac:grpSpMk id="8" creationId="{D5B131CE-CF80-F645-7168-55E6611F0AED}"/>
          </ac:grpSpMkLst>
        </pc:grpChg>
        <pc:grpChg chg="add mod">
          <ac:chgData name="Brown, Peter" userId="34fe0430-42e1-4120-9d39-668328cfa1f0" providerId="ADAL" clId="{212202D4-3E17-44EB-9FA4-907557E40392}" dt="2022-11-03T11:20:19.915" v="3019"/>
          <ac:grpSpMkLst>
            <pc:docMk/>
            <pc:sldMk cId="3636883840" sldId="2144868123"/>
            <ac:grpSpMk id="11" creationId="{9DA60E2F-FE98-1EFA-7FE0-0FE372939F04}"/>
          </ac:grpSpMkLst>
        </pc:grpChg>
        <pc:grpChg chg="add mod">
          <ac:chgData name="Brown, Peter" userId="34fe0430-42e1-4120-9d39-668328cfa1f0" providerId="ADAL" clId="{212202D4-3E17-44EB-9FA4-907557E40392}" dt="2022-11-03T11:20:19.915" v="3019"/>
          <ac:grpSpMkLst>
            <pc:docMk/>
            <pc:sldMk cId="3636883840" sldId="2144868123"/>
            <ac:grpSpMk id="14" creationId="{3A9DECC5-7A03-A95E-DA42-5123791F535A}"/>
          </ac:grpSpMkLst>
        </pc:grpChg>
        <pc:grpChg chg="add mod">
          <ac:chgData name="Brown, Peter" userId="34fe0430-42e1-4120-9d39-668328cfa1f0" providerId="ADAL" clId="{212202D4-3E17-44EB-9FA4-907557E40392}" dt="2022-11-03T11:20:19.915" v="3019"/>
          <ac:grpSpMkLst>
            <pc:docMk/>
            <pc:sldMk cId="3636883840" sldId="2144868123"/>
            <ac:grpSpMk id="17" creationId="{5916B4D1-3C1A-305C-3031-BB9273B64AC4}"/>
          </ac:grpSpMkLst>
        </pc:grpChg>
        <pc:grpChg chg="add mod">
          <ac:chgData name="Brown, Peter" userId="34fe0430-42e1-4120-9d39-668328cfa1f0" providerId="ADAL" clId="{212202D4-3E17-44EB-9FA4-907557E40392}" dt="2022-11-03T11:20:19.915" v="3019"/>
          <ac:grpSpMkLst>
            <pc:docMk/>
            <pc:sldMk cId="3636883840" sldId="2144868123"/>
            <ac:grpSpMk id="43" creationId="{FA3D6487-0017-D041-0050-E5D47A69545C}"/>
          </ac:grpSpMkLst>
        </pc:grpChg>
        <pc:grpChg chg="add mod">
          <ac:chgData name="Brown, Peter" userId="34fe0430-42e1-4120-9d39-668328cfa1f0" providerId="ADAL" clId="{212202D4-3E17-44EB-9FA4-907557E40392}" dt="2022-11-03T11:20:19.915" v="3019"/>
          <ac:grpSpMkLst>
            <pc:docMk/>
            <pc:sldMk cId="3636883840" sldId="2144868123"/>
            <ac:grpSpMk id="46" creationId="{0C28075E-5370-0010-3E14-77561C113CE9}"/>
          </ac:grpSpMkLst>
        </pc:grp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21" creationId="{A313A929-4BDE-0A61-4A5E-DA0208B282A2}"/>
          </ac:cxnSpMkLst>
        </pc:cxn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22" creationId="{89A3E1EF-8771-3D02-BA47-1D2A3400D5C8}"/>
          </ac:cxnSpMkLst>
        </pc:cxn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23" creationId="{515C7845-C43B-BAB2-11C7-82B74FA020E4}"/>
          </ac:cxnSpMkLst>
        </pc:cxn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24" creationId="{E3D498B7-A17D-0A1E-CA33-B1CC8CE73DBB}"/>
          </ac:cxnSpMkLst>
        </pc:cxn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25" creationId="{F606F00D-11AC-1214-D35E-389BD5FBA323}"/>
          </ac:cxnSpMkLst>
        </pc:cxn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26" creationId="{B4EBED44-0283-9C6A-9143-602AA823940D}"/>
          </ac:cxnSpMkLst>
        </pc:cxn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27" creationId="{59459022-B4F5-D0E3-5A58-BAEEEE05469E}"/>
          </ac:cxnSpMkLst>
        </pc:cxn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28" creationId="{A2B6DFB7-0240-107F-5EE2-C716A3CA77FA}"/>
          </ac:cxnSpMkLst>
        </pc:cxn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29" creationId="{32230520-E68A-2A15-79EF-9645791BA89B}"/>
          </ac:cxnSpMkLst>
        </pc:cxn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35" creationId="{90EAA768-3C68-6E9E-590D-061810DE67E5}"/>
          </ac:cxnSpMkLst>
        </pc:cxn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36" creationId="{EDF2B81E-DBAF-AF7B-BDCC-7622FFBC8D48}"/>
          </ac:cxnSpMkLst>
        </pc:cxn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37" creationId="{2D2D326A-A709-3FFD-4C65-B10CB66118E9}"/>
          </ac:cxnSpMkLst>
        </pc:cxn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38" creationId="{17C31900-3E60-2C02-1706-350604E13ED3}"/>
          </ac:cxnSpMkLst>
        </pc:cxn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39" creationId="{55BE76A0-02AC-D018-6FA2-2649EB306BB8}"/>
          </ac:cxnSpMkLst>
        </pc:cxn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40" creationId="{FCCFC651-050E-859B-FD91-3E63BC5640A9}"/>
          </ac:cxnSpMkLst>
        </pc:cxn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41" creationId="{C919EA36-7615-AC84-7BE8-B606D3361818}"/>
          </ac:cxnSpMkLst>
        </pc:cxnChg>
        <pc:cxnChg chg="add mod">
          <ac:chgData name="Brown, Peter" userId="34fe0430-42e1-4120-9d39-668328cfa1f0" providerId="ADAL" clId="{212202D4-3E17-44EB-9FA4-907557E40392}" dt="2022-11-03T11:20:19.915" v="3019"/>
          <ac:cxnSpMkLst>
            <pc:docMk/>
            <pc:sldMk cId="3636883840" sldId="2144868123"/>
            <ac:cxnSpMk id="42" creationId="{5FEADF50-4168-4584-4C1C-39E2E2895E77}"/>
          </ac:cxnSpMkLst>
        </pc:cxnChg>
      </pc:sldChg>
      <pc:sldChg chg="del">
        <pc:chgData name="Brown, Peter" userId="34fe0430-42e1-4120-9d39-668328cfa1f0" providerId="ADAL" clId="{212202D4-3E17-44EB-9FA4-907557E40392}" dt="2022-11-03T10:02:37.210" v="84" actId="47"/>
        <pc:sldMkLst>
          <pc:docMk/>
          <pc:sldMk cId="1409185584" sldId="2144868124"/>
        </pc:sldMkLst>
      </pc:sldChg>
      <pc:sldChg chg="modSp new mod">
        <pc:chgData name="Brown, Peter" userId="34fe0430-42e1-4120-9d39-668328cfa1f0" providerId="ADAL" clId="{212202D4-3E17-44EB-9FA4-907557E40392}" dt="2022-11-03T11:15:24.008" v="2919" actId="20577"/>
        <pc:sldMkLst>
          <pc:docMk/>
          <pc:sldMk cId="3666308230" sldId="2144868124"/>
        </pc:sldMkLst>
        <pc:spChg chg="mod">
          <ac:chgData name="Brown, Peter" userId="34fe0430-42e1-4120-9d39-668328cfa1f0" providerId="ADAL" clId="{212202D4-3E17-44EB-9FA4-907557E40392}" dt="2022-11-03T11:15:24.008" v="2919" actId="20577"/>
          <ac:spMkLst>
            <pc:docMk/>
            <pc:sldMk cId="3666308230" sldId="2144868124"/>
            <ac:spMk id="3" creationId="{A7D39A7F-BC5D-B22F-6525-7EDDA41577B9}"/>
          </ac:spMkLst>
        </pc:spChg>
        <pc:spChg chg="mod">
          <ac:chgData name="Brown, Peter" userId="34fe0430-42e1-4120-9d39-668328cfa1f0" providerId="ADAL" clId="{212202D4-3E17-44EB-9FA4-907557E40392}" dt="2022-11-03T10:33:20.314" v="1708" actId="20577"/>
          <ac:spMkLst>
            <pc:docMk/>
            <pc:sldMk cId="3666308230" sldId="2144868124"/>
            <ac:spMk id="4" creationId="{88F7FAB4-C533-FBE4-E14B-1B8CEB5DC926}"/>
          </ac:spMkLst>
        </pc:spChg>
      </pc:sldChg>
      <pc:sldChg chg="addSp modSp new mod modAnim">
        <pc:chgData name="Brown, Peter" userId="34fe0430-42e1-4120-9d39-668328cfa1f0" providerId="ADAL" clId="{212202D4-3E17-44EB-9FA4-907557E40392}" dt="2022-11-03T11:12:23.342" v="2813" actId="207"/>
        <pc:sldMkLst>
          <pc:docMk/>
          <pc:sldMk cId="304799000" sldId="2144868125"/>
        </pc:sldMkLst>
        <pc:spChg chg="mod">
          <ac:chgData name="Brown, Peter" userId="34fe0430-42e1-4120-9d39-668328cfa1f0" providerId="ADAL" clId="{212202D4-3E17-44EB-9FA4-907557E40392}" dt="2022-11-03T11:05:58.210" v="2411" actId="20577"/>
          <ac:spMkLst>
            <pc:docMk/>
            <pc:sldMk cId="304799000" sldId="2144868125"/>
            <ac:spMk id="4" creationId="{A3F6BF25-5701-18DE-32C0-8521CFC1E058}"/>
          </ac:spMkLst>
        </pc:spChg>
        <pc:spChg chg="mod">
          <ac:chgData name="Brown, Peter" userId="34fe0430-42e1-4120-9d39-668328cfa1f0" providerId="ADAL" clId="{212202D4-3E17-44EB-9FA4-907557E40392}" dt="2022-11-03T11:06:17.472" v="2412"/>
          <ac:spMkLst>
            <pc:docMk/>
            <pc:sldMk cId="304799000" sldId="2144868125"/>
            <ac:spMk id="23" creationId="{A46239FE-4362-2AF6-91A4-B1A8961D0925}"/>
          </ac:spMkLst>
        </pc:spChg>
        <pc:spChg chg="mod">
          <ac:chgData name="Brown, Peter" userId="34fe0430-42e1-4120-9d39-668328cfa1f0" providerId="ADAL" clId="{212202D4-3E17-44EB-9FA4-907557E40392}" dt="2022-11-03T11:06:38.147" v="2454" actId="790"/>
          <ac:spMkLst>
            <pc:docMk/>
            <pc:sldMk cId="304799000" sldId="2144868125"/>
            <ac:spMk id="24" creationId="{73DB8D2A-0898-610F-CF16-27F7922E1674}"/>
          </ac:spMkLst>
        </pc:spChg>
        <pc:spChg chg="add mod">
          <ac:chgData name="Brown, Peter" userId="34fe0430-42e1-4120-9d39-668328cfa1f0" providerId="ADAL" clId="{212202D4-3E17-44EB-9FA4-907557E40392}" dt="2022-11-03T11:07:05.965" v="2481" actId="790"/>
          <ac:spMkLst>
            <pc:docMk/>
            <pc:sldMk cId="304799000" sldId="2144868125"/>
            <ac:spMk id="25" creationId="{AEE5142B-F892-F947-FAE6-F4E8C2B8CC3B}"/>
          </ac:spMkLst>
        </pc:spChg>
        <pc:spChg chg="add mod">
          <ac:chgData name="Brown, Peter" userId="34fe0430-42e1-4120-9d39-668328cfa1f0" providerId="ADAL" clId="{212202D4-3E17-44EB-9FA4-907557E40392}" dt="2022-11-03T11:12:23.342" v="2813" actId="207"/>
          <ac:spMkLst>
            <pc:docMk/>
            <pc:sldMk cId="304799000" sldId="2144868125"/>
            <ac:spMk id="42" creationId="{55663187-DBB9-ACC0-A29E-C98BCB0FB69A}"/>
          </ac:spMkLst>
        </pc:spChg>
        <pc:spChg chg="add mod">
          <ac:chgData name="Brown, Peter" userId="34fe0430-42e1-4120-9d39-668328cfa1f0" providerId="ADAL" clId="{212202D4-3E17-44EB-9FA4-907557E40392}" dt="2022-11-03T11:12:23.342" v="2813" actId="207"/>
          <ac:spMkLst>
            <pc:docMk/>
            <pc:sldMk cId="304799000" sldId="2144868125"/>
            <ac:spMk id="43" creationId="{5425A77F-A266-EB66-C24C-94BC00F02361}"/>
          </ac:spMkLst>
        </pc:spChg>
        <pc:spChg chg="add mod">
          <ac:chgData name="Brown, Peter" userId="34fe0430-42e1-4120-9d39-668328cfa1f0" providerId="ADAL" clId="{212202D4-3E17-44EB-9FA4-907557E40392}" dt="2022-11-03T11:12:23.342" v="2813" actId="207"/>
          <ac:spMkLst>
            <pc:docMk/>
            <pc:sldMk cId="304799000" sldId="2144868125"/>
            <ac:spMk id="44" creationId="{D8EC2ABE-5FC0-0DC3-778A-5A6F308C2B3A}"/>
          </ac:spMkLst>
        </pc:spChg>
        <pc:spChg chg="add mod">
          <ac:chgData name="Brown, Peter" userId="34fe0430-42e1-4120-9d39-668328cfa1f0" providerId="ADAL" clId="{212202D4-3E17-44EB-9FA4-907557E40392}" dt="2022-11-03T11:12:23.342" v="2813" actId="207"/>
          <ac:spMkLst>
            <pc:docMk/>
            <pc:sldMk cId="304799000" sldId="2144868125"/>
            <ac:spMk id="45" creationId="{D56BCC31-7F51-781B-2167-6D9EA73A502C}"/>
          </ac:spMkLst>
        </pc:spChg>
        <pc:grpChg chg="add mod">
          <ac:chgData name="Brown, Peter" userId="34fe0430-42e1-4120-9d39-668328cfa1f0" providerId="ADAL" clId="{212202D4-3E17-44EB-9FA4-907557E40392}" dt="2022-11-03T11:06:26.127" v="2453" actId="1038"/>
          <ac:grpSpMkLst>
            <pc:docMk/>
            <pc:sldMk cId="304799000" sldId="2144868125"/>
            <ac:grpSpMk id="22" creationId="{64E2F0D8-A384-9289-B820-452E34B4E0E5}"/>
          </ac:grpSpMkLst>
        </pc:grpChg>
        <pc:picChg chg="add mod">
          <ac:chgData name="Brown, Peter" userId="34fe0430-42e1-4120-9d39-668328cfa1f0" providerId="ADAL" clId="{212202D4-3E17-44EB-9FA4-907557E40392}" dt="2022-11-03T11:02:44.874" v="2349" actId="1076"/>
          <ac:picMkLst>
            <pc:docMk/>
            <pc:sldMk cId="304799000" sldId="2144868125"/>
            <ac:picMk id="5" creationId="{43F577DD-B20E-6EB3-65AC-983D8892663E}"/>
          </ac:picMkLst>
        </pc:picChg>
        <pc:picChg chg="add mod">
          <ac:chgData name="Brown, Peter" userId="34fe0430-42e1-4120-9d39-668328cfa1f0" providerId="ADAL" clId="{212202D4-3E17-44EB-9FA4-907557E40392}" dt="2022-11-03T11:03:32.312" v="2379" actId="1038"/>
          <ac:picMkLst>
            <pc:docMk/>
            <pc:sldMk cId="304799000" sldId="2144868125"/>
            <ac:picMk id="6" creationId="{33ECFE92-5481-23B8-4613-7B88A5111333}"/>
          </ac:picMkLst>
        </pc:picChg>
        <pc:picChg chg="add mod">
          <ac:chgData name="Brown, Peter" userId="34fe0430-42e1-4120-9d39-668328cfa1f0" providerId="ADAL" clId="{212202D4-3E17-44EB-9FA4-907557E40392}" dt="2022-11-03T11:03:32.312" v="2379" actId="1038"/>
          <ac:picMkLst>
            <pc:docMk/>
            <pc:sldMk cId="304799000" sldId="2144868125"/>
            <ac:picMk id="7" creationId="{85751CC7-D785-2BDF-C2A8-4FE8C36BFBBD}"/>
          </ac:picMkLst>
        </pc:picChg>
        <pc:picChg chg="add mod">
          <ac:chgData name="Brown, Peter" userId="34fe0430-42e1-4120-9d39-668328cfa1f0" providerId="ADAL" clId="{212202D4-3E17-44EB-9FA4-907557E40392}" dt="2022-11-03T11:03:32.312" v="2379" actId="1038"/>
          <ac:picMkLst>
            <pc:docMk/>
            <pc:sldMk cId="304799000" sldId="2144868125"/>
            <ac:picMk id="8" creationId="{45BDC193-B18A-2A7F-65A6-6D93FF42A542}"/>
          </ac:picMkLst>
        </pc:picChg>
        <pc:picChg chg="add mod">
          <ac:chgData name="Brown, Peter" userId="34fe0430-42e1-4120-9d39-668328cfa1f0" providerId="ADAL" clId="{212202D4-3E17-44EB-9FA4-907557E40392}" dt="2022-11-03T11:03:32.312" v="2379" actId="1038"/>
          <ac:picMkLst>
            <pc:docMk/>
            <pc:sldMk cId="304799000" sldId="2144868125"/>
            <ac:picMk id="9" creationId="{3A20E791-7BB8-F5C6-9C89-E252D5430E62}"/>
          </ac:picMkLst>
        </pc:picChg>
        <pc:cxnChg chg="add mod">
          <ac:chgData name="Brown, Peter" userId="34fe0430-42e1-4120-9d39-668328cfa1f0" providerId="ADAL" clId="{212202D4-3E17-44EB-9FA4-907557E40392}" dt="2022-11-03T11:05:31.366" v="2405" actId="692"/>
          <ac:cxnSpMkLst>
            <pc:docMk/>
            <pc:sldMk cId="304799000" sldId="2144868125"/>
            <ac:cxnSpMk id="11" creationId="{09456588-1D96-B50D-9F7C-EF7822F1AF21}"/>
          </ac:cxnSpMkLst>
        </pc:cxnChg>
        <pc:cxnChg chg="add mod">
          <ac:chgData name="Brown, Peter" userId="34fe0430-42e1-4120-9d39-668328cfa1f0" providerId="ADAL" clId="{212202D4-3E17-44EB-9FA4-907557E40392}" dt="2022-11-03T11:05:31.366" v="2405" actId="692"/>
          <ac:cxnSpMkLst>
            <pc:docMk/>
            <pc:sldMk cId="304799000" sldId="2144868125"/>
            <ac:cxnSpMk id="13" creationId="{946D6F4D-D557-BB98-26FD-C2ACC4DE256F}"/>
          </ac:cxnSpMkLst>
        </pc:cxnChg>
        <pc:cxnChg chg="add mod">
          <ac:chgData name="Brown, Peter" userId="34fe0430-42e1-4120-9d39-668328cfa1f0" providerId="ADAL" clId="{212202D4-3E17-44EB-9FA4-907557E40392}" dt="2022-11-03T11:05:31.366" v="2405" actId="692"/>
          <ac:cxnSpMkLst>
            <pc:docMk/>
            <pc:sldMk cId="304799000" sldId="2144868125"/>
            <ac:cxnSpMk id="15" creationId="{4DEAFDB7-DB64-3C36-6CBC-546550330A86}"/>
          </ac:cxnSpMkLst>
        </pc:cxnChg>
        <pc:cxnChg chg="add mod">
          <ac:chgData name="Brown, Peter" userId="34fe0430-42e1-4120-9d39-668328cfa1f0" providerId="ADAL" clId="{212202D4-3E17-44EB-9FA4-907557E40392}" dt="2022-11-03T11:05:31.366" v="2405" actId="692"/>
          <ac:cxnSpMkLst>
            <pc:docMk/>
            <pc:sldMk cId="304799000" sldId="2144868125"/>
            <ac:cxnSpMk id="17" creationId="{08B9173D-BC22-994E-96B8-F2CDD5E53BA3}"/>
          </ac:cxnSpMkLst>
        </pc:cxnChg>
        <pc:cxnChg chg="add mod">
          <ac:chgData name="Brown, Peter" userId="34fe0430-42e1-4120-9d39-668328cfa1f0" providerId="ADAL" clId="{212202D4-3E17-44EB-9FA4-907557E40392}" dt="2022-11-03T11:05:31.366" v="2405" actId="692"/>
          <ac:cxnSpMkLst>
            <pc:docMk/>
            <pc:sldMk cId="304799000" sldId="2144868125"/>
            <ac:cxnSpMk id="19" creationId="{3732EFED-75D4-D75E-4802-30A20CB5F279}"/>
          </ac:cxnSpMkLst>
        </pc:cxnChg>
        <pc:cxnChg chg="add mod">
          <ac:chgData name="Brown, Peter" userId="34fe0430-42e1-4120-9d39-668328cfa1f0" providerId="ADAL" clId="{212202D4-3E17-44EB-9FA4-907557E40392}" dt="2022-11-03T11:05:31.366" v="2405" actId="692"/>
          <ac:cxnSpMkLst>
            <pc:docMk/>
            <pc:sldMk cId="304799000" sldId="2144868125"/>
            <ac:cxnSpMk id="21" creationId="{E48FD6AE-03D1-1060-B9E0-B23F184DF69C}"/>
          </ac:cxnSpMkLst>
        </pc:cxnChg>
        <pc:cxnChg chg="add mod">
          <ac:chgData name="Brown, Peter" userId="34fe0430-42e1-4120-9d39-668328cfa1f0" providerId="ADAL" clId="{212202D4-3E17-44EB-9FA4-907557E40392}" dt="2022-11-03T11:09:55.195" v="2490" actId="208"/>
          <ac:cxnSpMkLst>
            <pc:docMk/>
            <pc:sldMk cId="304799000" sldId="2144868125"/>
            <ac:cxnSpMk id="27" creationId="{0FF34894-50F0-121D-7A82-E0AD499EBB13}"/>
          </ac:cxnSpMkLst>
        </pc:cxnChg>
        <pc:cxnChg chg="add mod">
          <ac:chgData name="Brown, Peter" userId="34fe0430-42e1-4120-9d39-668328cfa1f0" providerId="ADAL" clId="{212202D4-3E17-44EB-9FA4-907557E40392}" dt="2022-11-03T11:09:55.195" v="2490" actId="208"/>
          <ac:cxnSpMkLst>
            <pc:docMk/>
            <pc:sldMk cId="304799000" sldId="2144868125"/>
            <ac:cxnSpMk id="29" creationId="{E2A079FF-9899-DBA5-C827-962AD2782A8A}"/>
          </ac:cxnSpMkLst>
        </pc:cxnChg>
        <pc:cxnChg chg="add mod">
          <ac:chgData name="Brown, Peter" userId="34fe0430-42e1-4120-9d39-668328cfa1f0" providerId="ADAL" clId="{212202D4-3E17-44EB-9FA4-907557E40392}" dt="2022-11-03T11:09:55.195" v="2490" actId="208"/>
          <ac:cxnSpMkLst>
            <pc:docMk/>
            <pc:sldMk cId="304799000" sldId="2144868125"/>
            <ac:cxnSpMk id="31" creationId="{24749426-DD23-A698-777A-A03120DE4CE8}"/>
          </ac:cxnSpMkLst>
        </pc:cxnChg>
        <pc:cxnChg chg="add mod">
          <ac:chgData name="Brown, Peter" userId="34fe0430-42e1-4120-9d39-668328cfa1f0" providerId="ADAL" clId="{212202D4-3E17-44EB-9FA4-907557E40392}" dt="2022-11-03T11:09:55.195" v="2490" actId="208"/>
          <ac:cxnSpMkLst>
            <pc:docMk/>
            <pc:sldMk cId="304799000" sldId="2144868125"/>
            <ac:cxnSpMk id="33" creationId="{49989D08-B7DF-A868-AA33-118AF0FF5CF7}"/>
          </ac:cxnSpMkLst>
        </pc:cxnChg>
        <pc:cxnChg chg="add mod">
          <ac:chgData name="Brown, Peter" userId="34fe0430-42e1-4120-9d39-668328cfa1f0" providerId="ADAL" clId="{212202D4-3E17-44EB-9FA4-907557E40392}" dt="2022-11-03T11:09:55.195" v="2490" actId="208"/>
          <ac:cxnSpMkLst>
            <pc:docMk/>
            <pc:sldMk cId="304799000" sldId="2144868125"/>
            <ac:cxnSpMk id="35" creationId="{4B3F8B2C-4BA9-AB15-7338-2A0A5087681A}"/>
          </ac:cxnSpMkLst>
        </pc:cxnChg>
        <pc:cxnChg chg="add mod">
          <ac:chgData name="Brown, Peter" userId="34fe0430-42e1-4120-9d39-668328cfa1f0" providerId="ADAL" clId="{212202D4-3E17-44EB-9FA4-907557E40392}" dt="2022-11-03T11:09:55.195" v="2490" actId="208"/>
          <ac:cxnSpMkLst>
            <pc:docMk/>
            <pc:sldMk cId="304799000" sldId="2144868125"/>
            <ac:cxnSpMk id="37" creationId="{A7881279-C32D-7DAD-8C9A-06DBFF7C8CF2}"/>
          </ac:cxnSpMkLst>
        </pc:cxnChg>
        <pc:cxnChg chg="add mod">
          <ac:chgData name="Brown, Peter" userId="34fe0430-42e1-4120-9d39-668328cfa1f0" providerId="ADAL" clId="{212202D4-3E17-44EB-9FA4-907557E40392}" dt="2022-11-03T11:09:55.195" v="2490" actId="208"/>
          <ac:cxnSpMkLst>
            <pc:docMk/>
            <pc:sldMk cId="304799000" sldId="2144868125"/>
            <ac:cxnSpMk id="39" creationId="{C873ADFE-D252-D686-1598-43C3A124C5C0}"/>
          </ac:cxnSpMkLst>
        </pc:cxnChg>
        <pc:cxnChg chg="add mod">
          <ac:chgData name="Brown, Peter" userId="34fe0430-42e1-4120-9d39-668328cfa1f0" providerId="ADAL" clId="{212202D4-3E17-44EB-9FA4-907557E40392}" dt="2022-11-03T11:09:55.195" v="2490" actId="208"/>
          <ac:cxnSpMkLst>
            <pc:docMk/>
            <pc:sldMk cId="304799000" sldId="2144868125"/>
            <ac:cxnSpMk id="41" creationId="{CC61F583-47A6-E8FC-F74D-A6F431F1FC9E}"/>
          </ac:cxnSpMkLst>
        </pc:cxnChg>
      </pc:sldChg>
      <pc:sldChg chg="del">
        <pc:chgData name="Brown, Peter" userId="34fe0430-42e1-4120-9d39-668328cfa1f0" providerId="ADAL" clId="{212202D4-3E17-44EB-9FA4-907557E40392}" dt="2022-11-03T10:02:38.562" v="85" actId="47"/>
        <pc:sldMkLst>
          <pc:docMk/>
          <pc:sldMk cId="1717763002" sldId="2144868125"/>
        </pc:sldMkLst>
      </pc:sldChg>
      <pc:sldChg chg="addSp modSp new mod">
        <pc:chgData name="Brown, Peter" userId="34fe0430-42e1-4120-9d39-668328cfa1f0" providerId="ADAL" clId="{212202D4-3E17-44EB-9FA4-907557E40392}" dt="2022-11-04T14:58:22.775" v="3813" actId="790"/>
        <pc:sldMkLst>
          <pc:docMk/>
          <pc:sldMk cId="2493844383" sldId="2144868126"/>
        </pc:sldMkLst>
        <pc:spChg chg="mod">
          <ac:chgData name="Brown, Peter" userId="34fe0430-42e1-4120-9d39-668328cfa1f0" providerId="ADAL" clId="{212202D4-3E17-44EB-9FA4-907557E40392}" dt="2022-11-03T11:42:18.512" v="3320" actId="20577"/>
          <ac:spMkLst>
            <pc:docMk/>
            <pc:sldMk cId="2493844383" sldId="2144868126"/>
            <ac:spMk id="4" creationId="{04C2FB60-C60B-D020-D600-13D9EE350866}"/>
          </ac:spMkLst>
        </pc:spChg>
        <pc:spChg chg="add mod">
          <ac:chgData name="Brown, Peter" userId="34fe0430-42e1-4120-9d39-668328cfa1f0" providerId="ADAL" clId="{212202D4-3E17-44EB-9FA4-907557E40392}" dt="2022-11-04T14:58:22.775" v="3813" actId="790"/>
          <ac:spMkLst>
            <pc:docMk/>
            <pc:sldMk cId="2493844383" sldId="2144868126"/>
            <ac:spMk id="25" creationId="{3C490421-E298-3257-8627-43EC3324311B}"/>
          </ac:spMkLst>
        </pc:spChg>
        <pc:graphicFrameChg chg="add mod modGraphic">
          <ac:chgData name="Brown, Peter" userId="34fe0430-42e1-4120-9d39-668328cfa1f0" providerId="ADAL" clId="{212202D4-3E17-44EB-9FA4-907557E40392}" dt="2022-11-03T11:41:25.536" v="3257" actId="20577"/>
          <ac:graphicFrameMkLst>
            <pc:docMk/>
            <pc:sldMk cId="2493844383" sldId="2144868126"/>
            <ac:graphicFrameMk id="5" creationId="{74355A30-DDBE-FDCA-3720-3EA19C20B35D}"/>
          </ac:graphicFrameMkLst>
        </pc:graphicFrameChg>
        <pc:picChg chg="add mod">
          <ac:chgData name="Brown, Peter" userId="34fe0430-42e1-4120-9d39-668328cfa1f0" providerId="ADAL" clId="{212202D4-3E17-44EB-9FA4-907557E40392}" dt="2022-11-03T11:40:27.552" v="3216" actId="1035"/>
          <ac:picMkLst>
            <pc:docMk/>
            <pc:sldMk cId="2493844383" sldId="2144868126"/>
            <ac:picMk id="6" creationId="{BA91D5FE-8DA5-DA1A-9B85-D899675F8B76}"/>
          </ac:picMkLst>
        </pc:picChg>
        <pc:picChg chg="add mod">
          <ac:chgData name="Brown, Peter" userId="34fe0430-42e1-4120-9d39-668328cfa1f0" providerId="ADAL" clId="{212202D4-3E17-44EB-9FA4-907557E40392}" dt="2022-11-03T11:40:27.552" v="3216" actId="1035"/>
          <ac:picMkLst>
            <pc:docMk/>
            <pc:sldMk cId="2493844383" sldId="2144868126"/>
            <ac:picMk id="7" creationId="{7607C87A-830A-CC59-B3D5-6849A63F611D}"/>
          </ac:picMkLst>
        </pc:picChg>
        <pc:picChg chg="add mod">
          <ac:chgData name="Brown, Peter" userId="34fe0430-42e1-4120-9d39-668328cfa1f0" providerId="ADAL" clId="{212202D4-3E17-44EB-9FA4-907557E40392}" dt="2022-11-03T11:40:27.552" v="3216" actId="1035"/>
          <ac:picMkLst>
            <pc:docMk/>
            <pc:sldMk cId="2493844383" sldId="2144868126"/>
            <ac:picMk id="8" creationId="{A987911D-487B-44DF-F427-6471E0651B7F}"/>
          </ac:picMkLst>
        </pc:picChg>
        <pc:picChg chg="add mod">
          <ac:chgData name="Brown, Peter" userId="34fe0430-42e1-4120-9d39-668328cfa1f0" providerId="ADAL" clId="{212202D4-3E17-44EB-9FA4-907557E40392}" dt="2022-11-03T11:40:27.552" v="3216" actId="1035"/>
          <ac:picMkLst>
            <pc:docMk/>
            <pc:sldMk cId="2493844383" sldId="2144868126"/>
            <ac:picMk id="9" creationId="{E9310345-60CD-F48B-20E9-ECC9775BD5B8}"/>
          </ac:picMkLst>
        </pc:picChg>
        <pc:picChg chg="add mod">
          <ac:chgData name="Brown, Peter" userId="34fe0430-42e1-4120-9d39-668328cfa1f0" providerId="ADAL" clId="{212202D4-3E17-44EB-9FA4-907557E40392}" dt="2022-11-03T11:40:48.436" v="3249" actId="1035"/>
          <ac:picMkLst>
            <pc:docMk/>
            <pc:sldMk cId="2493844383" sldId="2144868126"/>
            <ac:picMk id="10" creationId="{A37ECBF9-3191-5578-4341-A663E9DC0E5A}"/>
          </ac:picMkLst>
        </pc:picChg>
        <pc:picChg chg="add mod">
          <ac:chgData name="Brown, Peter" userId="34fe0430-42e1-4120-9d39-668328cfa1f0" providerId="ADAL" clId="{212202D4-3E17-44EB-9FA4-907557E40392}" dt="2022-11-03T11:40:48.436" v="3249" actId="1035"/>
          <ac:picMkLst>
            <pc:docMk/>
            <pc:sldMk cId="2493844383" sldId="2144868126"/>
            <ac:picMk id="11" creationId="{9B4DE714-EE12-087E-6F37-29AF9BF065F8}"/>
          </ac:picMkLst>
        </pc:picChg>
        <pc:picChg chg="add mod">
          <ac:chgData name="Brown, Peter" userId="34fe0430-42e1-4120-9d39-668328cfa1f0" providerId="ADAL" clId="{212202D4-3E17-44EB-9FA4-907557E40392}" dt="2022-11-03T11:40:48.436" v="3249" actId="1035"/>
          <ac:picMkLst>
            <pc:docMk/>
            <pc:sldMk cId="2493844383" sldId="2144868126"/>
            <ac:picMk id="12" creationId="{4C349662-F79E-771A-15C2-635BC230B50A}"/>
          </ac:picMkLst>
        </pc:picChg>
        <pc:picChg chg="add mod">
          <ac:chgData name="Brown, Peter" userId="34fe0430-42e1-4120-9d39-668328cfa1f0" providerId="ADAL" clId="{212202D4-3E17-44EB-9FA4-907557E40392}" dt="2022-11-03T11:40:48.436" v="3249" actId="1035"/>
          <ac:picMkLst>
            <pc:docMk/>
            <pc:sldMk cId="2493844383" sldId="2144868126"/>
            <ac:picMk id="13" creationId="{3E457865-C3A8-A9A8-A000-579EEAC6F0C8}"/>
          </ac:picMkLst>
        </pc:picChg>
        <pc:picChg chg="add mod">
          <ac:chgData name="Brown, Peter" userId="34fe0430-42e1-4120-9d39-668328cfa1f0" providerId="ADAL" clId="{212202D4-3E17-44EB-9FA4-907557E40392}" dt="2022-11-03T11:40:48.436" v="3249" actId="1035"/>
          <ac:picMkLst>
            <pc:docMk/>
            <pc:sldMk cId="2493844383" sldId="2144868126"/>
            <ac:picMk id="14" creationId="{D9F37418-1311-122B-1E23-23CFEBC4FADA}"/>
          </ac:picMkLst>
        </pc:picChg>
        <pc:picChg chg="add mod">
          <ac:chgData name="Brown, Peter" userId="34fe0430-42e1-4120-9d39-668328cfa1f0" providerId="ADAL" clId="{212202D4-3E17-44EB-9FA4-907557E40392}" dt="2022-11-03T11:40:48.436" v="3249" actId="1035"/>
          <ac:picMkLst>
            <pc:docMk/>
            <pc:sldMk cId="2493844383" sldId="2144868126"/>
            <ac:picMk id="15" creationId="{38DFF531-E20D-385F-4F55-BF7A4D4D6315}"/>
          </ac:picMkLst>
        </pc:picChg>
        <pc:picChg chg="add mod">
          <ac:chgData name="Brown, Peter" userId="34fe0430-42e1-4120-9d39-668328cfa1f0" providerId="ADAL" clId="{212202D4-3E17-44EB-9FA4-907557E40392}" dt="2022-11-03T11:40:48.436" v="3249" actId="1035"/>
          <ac:picMkLst>
            <pc:docMk/>
            <pc:sldMk cId="2493844383" sldId="2144868126"/>
            <ac:picMk id="16" creationId="{3D595132-9063-BE20-41B9-56091A0F8678}"/>
          </ac:picMkLst>
        </pc:picChg>
        <pc:picChg chg="add mod">
          <ac:chgData name="Brown, Peter" userId="34fe0430-42e1-4120-9d39-668328cfa1f0" providerId="ADAL" clId="{212202D4-3E17-44EB-9FA4-907557E40392}" dt="2022-11-03T11:40:48.436" v="3249" actId="1035"/>
          <ac:picMkLst>
            <pc:docMk/>
            <pc:sldMk cId="2493844383" sldId="2144868126"/>
            <ac:picMk id="17" creationId="{48F1C145-79FA-8F8D-C701-D5796431DCA2}"/>
          </ac:picMkLst>
        </pc:picChg>
        <pc:picChg chg="add mod">
          <ac:chgData name="Brown, Peter" userId="34fe0430-42e1-4120-9d39-668328cfa1f0" providerId="ADAL" clId="{212202D4-3E17-44EB-9FA4-907557E40392}" dt="2022-11-03T11:40:48.436" v="3249" actId="1035"/>
          <ac:picMkLst>
            <pc:docMk/>
            <pc:sldMk cId="2493844383" sldId="2144868126"/>
            <ac:picMk id="18" creationId="{9A1E2505-5FF9-5FC5-D94B-DACBEE520455}"/>
          </ac:picMkLst>
        </pc:picChg>
        <pc:picChg chg="add mod">
          <ac:chgData name="Brown, Peter" userId="34fe0430-42e1-4120-9d39-668328cfa1f0" providerId="ADAL" clId="{212202D4-3E17-44EB-9FA4-907557E40392}" dt="2022-11-03T11:40:48.436" v="3249" actId="1035"/>
          <ac:picMkLst>
            <pc:docMk/>
            <pc:sldMk cId="2493844383" sldId="2144868126"/>
            <ac:picMk id="19" creationId="{B7914B0E-C628-A284-A8E7-5628B8DBA791}"/>
          </ac:picMkLst>
        </pc:picChg>
        <pc:picChg chg="add mod">
          <ac:chgData name="Brown, Peter" userId="34fe0430-42e1-4120-9d39-668328cfa1f0" providerId="ADAL" clId="{212202D4-3E17-44EB-9FA4-907557E40392}" dt="2022-11-03T11:40:48.436" v="3249" actId="1035"/>
          <ac:picMkLst>
            <pc:docMk/>
            <pc:sldMk cId="2493844383" sldId="2144868126"/>
            <ac:picMk id="20" creationId="{ADFEB994-98D2-EC99-06F2-C5943A041814}"/>
          </ac:picMkLst>
        </pc:picChg>
        <pc:picChg chg="add mod">
          <ac:chgData name="Brown, Peter" userId="34fe0430-42e1-4120-9d39-668328cfa1f0" providerId="ADAL" clId="{212202D4-3E17-44EB-9FA4-907557E40392}" dt="2022-11-03T11:40:48.436" v="3249" actId="1035"/>
          <ac:picMkLst>
            <pc:docMk/>
            <pc:sldMk cId="2493844383" sldId="2144868126"/>
            <ac:picMk id="21" creationId="{5AB49157-1C01-6F01-E632-5141EA4403DC}"/>
          </ac:picMkLst>
        </pc:picChg>
        <pc:picChg chg="add mod">
          <ac:chgData name="Brown, Peter" userId="34fe0430-42e1-4120-9d39-668328cfa1f0" providerId="ADAL" clId="{212202D4-3E17-44EB-9FA4-907557E40392}" dt="2022-11-03T11:40:48.436" v="3249" actId="1035"/>
          <ac:picMkLst>
            <pc:docMk/>
            <pc:sldMk cId="2493844383" sldId="2144868126"/>
            <ac:picMk id="22" creationId="{6CF8F500-BE80-B60F-D951-B8704FE22A55}"/>
          </ac:picMkLst>
        </pc:picChg>
        <pc:picChg chg="add mod">
          <ac:chgData name="Brown, Peter" userId="34fe0430-42e1-4120-9d39-668328cfa1f0" providerId="ADAL" clId="{212202D4-3E17-44EB-9FA4-907557E40392}" dt="2022-11-03T11:40:48.436" v="3249" actId="1035"/>
          <ac:picMkLst>
            <pc:docMk/>
            <pc:sldMk cId="2493844383" sldId="2144868126"/>
            <ac:picMk id="23" creationId="{B09FC6DC-3360-41B0-143E-E03810D05E86}"/>
          </ac:picMkLst>
        </pc:picChg>
        <pc:picChg chg="add mod">
          <ac:chgData name="Brown, Peter" userId="34fe0430-42e1-4120-9d39-668328cfa1f0" providerId="ADAL" clId="{212202D4-3E17-44EB-9FA4-907557E40392}" dt="2022-11-03T11:40:48.436" v="3249" actId="1035"/>
          <ac:picMkLst>
            <pc:docMk/>
            <pc:sldMk cId="2493844383" sldId="2144868126"/>
            <ac:picMk id="24" creationId="{A5719CA6-A426-0C65-69B8-3C2569CA3A66}"/>
          </ac:picMkLst>
        </pc:picChg>
      </pc:sldChg>
      <pc:sldChg chg="del">
        <pc:chgData name="Brown, Peter" userId="34fe0430-42e1-4120-9d39-668328cfa1f0" providerId="ADAL" clId="{212202D4-3E17-44EB-9FA4-907557E40392}" dt="2022-11-03T10:02:40.342" v="86" actId="47"/>
        <pc:sldMkLst>
          <pc:docMk/>
          <pc:sldMk cId="2636627671" sldId="2144868126"/>
        </pc:sldMkLst>
      </pc:sldChg>
      <pc:sldChg chg="addSp modSp new mod">
        <pc:chgData name="Brown, Peter" userId="34fe0430-42e1-4120-9d39-668328cfa1f0" providerId="ADAL" clId="{212202D4-3E17-44EB-9FA4-907557E40392}" dt="2022-11-03T11:48:13.633" v="3389" actId="20577"/>
        <pc:sldMkLst>
          <pc:docMk/>
          <pc:sldMk cId="1519754775" sldId="2144868127"/>
        </pc:sldMkLst>
        <pc:spChg chg="mod">
          <ac:chgData name="Brown, Peter" userId="34fe0430-42e1-4120-9d39-668328cfa1f0" providerId="ADAL" clId="{212202D4-3E17-44EB-9FA4-907557E40392}" dt="2022-11-03T11:48:13.633" v="3389" actId="20577"/>
          <ac:spMkLst>
            <pc:docMk/>
            <pc:sldMk cId="1519754775" sldId="2144868127"/>
            <ac:spMk id="4" creationId="{1F9C27F7-B597-A511-191E-B8E75C935971}"/>
          </ac:spMkLst>
        </pc:spChg>
        <pc:spChg chg="add mod">
          <ac:chgData name="Brown, Peter" userId="34fe0430-42e1-4120-9d39-668328cfa1f0" providerId="ADAL" clId="{212202D4-3E17-44EB-9FA4-907557E40392}" dt="2022-11-03T11:47:25.926" v="3353"/>
          <ac:spMkLst>
            <pc:docMk/>
            <pc:sldMk cId="1519754775" sldId="2144868127"/>
            <ac:spMk id="6" creationId="{BE6DCE97-AE02-168B-3463-B5E93F70E088}"/>
          </ac:spMkLst>
        </pc:spChg>
        <pc:picChg chg="add mod">
          <ac:chgData name="Brown, Peter" userId="34fe0430-42e1-4120-9d39-668328cfa1f0" providerId="ADAL" clId="{212202D4-3E17-44EB-9FA4-907557E40392}" dt="2022-11-03T11:47:25.926" v="3353"/>
          <ac:picMkLst>
            <pc:docMk/>
            <pc:sldMk cId="1519754775" sldId="2144868127"/>
            <ac:picMk id="5" creationId="{30C4B041-D775-7577-9FDB-18FC91C9E88D}"/>
          </ac:picMkLst>
        </pc:picChg>
      </pc:sldChg>
      <pc:sldChg chg="del">
        <pc:chgData name="Brown, Peter" userId="34fe0430-42e1-4120-9d39-668328cfa1f0" providerId="ADAL" clId="{212202D4-3E17-44EB-9FA4-907557E40392}" dt="2022-11-03T10:02:41.682" v="87" actId="47"/>
        <pc:sldMkLst>
          <pc:docMk/>
          <pc:sldMk cId="1753246453" sldId="2144868127"/>
        </pc:sldMkLst>
      </pc:sldChg>
      <pc:sldChg chg="del">
        <pc:chgData name="Brown, Peter" userId="34fe0430-42e1-4120-9d39-668328cfa1f0" providerId="ADAL" clId="{212202D4-3E17-44EB-9FA4-907557E40392}" dt="2022-11-03T10:02:43.569" v="88" actId="47"/>
        <pc:sldMkLst>
          <pc:docMk/>
          <pc:sldMk cId="1351030409" sldId="2144868128"/>
        </pc:sldMkLst>
      </pc:sldChg>
      <pc:sldChg chg="addSp delSp modSp new mod">
        <pc:chgData name="Brown, Peter" userId="34fe0430-42e1-4120-9d39-668328cfa1f0" providerId="ADAL" clId="{212202D4-3E17-44EB-9FA4-907557E40392}" dt="2022-11-03T12:04:41.779" v="3725" actId="207"/>
        <pc:sldMkLst>
          <pc:docMk/>
          <pc:sldMk cId="3556356045" sldId="2144868128"/>
        </pc:sldMkLst>
        <pc:spChg chg="mod">
          <ac:chgData name="Brown, Peter" userId="34fe0430-42e1-4120-9d39-668328cfa1f0" providerId="ADAL" clId="{212202D4-3E17-44EB-9FA4-907557E40392}" dt="2022-11-03T11:44:35.689" v="3343" actId="20577"/>
          <ac:spMkLst>
            <pc:docMk/>
            <pc:sldMk cId="3556356045" sldId="2144868128"/>
            <ac:spMk id="4" creationId="{724A1F16-3CB3-FCD7-2F62-E240F4AFDFA3}"/>
          </ac:spMkLst>
        </pc:spChg>
        <pc:spChg chg="add del mod">
          <ac:chgData name="Brown, Peter" userId="34fe0430-42e1-4120-9d39-668328cfa1f0" providerId="ADAL" clId="{212202D4-3E17-44EB-9FA4-907557E40392}" dt="2022-11-03T11:44:40.947" v="3345"/>
          <ac:spMkLst>
            <pc:docMk/>
            <pc:sldMk cId="3556356045" sldId="2144868128"/>
            <ac:spMk id="5" creationId="{CE68192F-D42D-2AAB-5321-48A53D4B0AF9}"/>
          </ac:spMkLst>
        </pc:spChg>
        <pc:spChg chg="add mod">
          <ac:chgData name="Brown, Peter" userId="34fe0430-42e1-4120-9d39-668328cfa1f0" providerId="ADAL" clId="{212202D4-3E17-44EB-9FA4-907557E40392}" dt="2022-11-03T12:04:41.779" v="3725" actId="207"/>
          <ac:spMkLst>
            <pc:docMk/>
            <pc:sldMk cId="3556356045" sldId="2144868128"/>
            <ac:spMk id="6" creationId="{2F556DAB-DE2E-CE4A-74C4-6F68665C442F}"/>
          </ac:spMkLst>
        </pc:spChg>
        <pc:spChg chg="add mod">
          <ac:chgData name="Brown, Peter" userId="34fe0430-42e1-4120-9d39-668328cfa1f0" providerId="ADAL" clId="{212202D4-3E17-44EB-9FA4-907557E40392}" dt="2022-11-03T11:44:52.178" v="3346"/>
          <ac:spMkLst>
            <pc:docMk/>
            <pc:sldMk cId="3556356045" sldId="2144868128"/>
            <ac:spMk id="8" creationId="{FA3F68F8-2262-34C8-94C7-0D96CD9E42CA}"/>
          </ac:spMkLst>
        </pc:spChg>
        <pc:spChg chg="add mod">
          <ac:chgData name="Brown, Peter" userId="34fe0430-42e1-4120-9d39-668328cfa1f0" providerId="ADAL" clId="{212202D4-3E17-44EB-9FA4-907557E40392}" dt="2022-11-03T11:44:52.178" v="3346"/>
          <ac:spMkLst>
            <pc:docMk/>
            <pc:sldMk cId="3556356045" sldId="2144868128"/>
            <ac:spMk id="21" creationId="{4E2D33BE-5467-80ED-E6B8-BF31E533722F}"/>
          </ac:spMkLst>
        </pc:spChg>
        <pc:spChg chg="add mod">
          <ac:chgData name="Brown, Peter" userId="34fe0430-42e1-4120-9d39-668328cfa1f0" providerId="ADAL" clId="{212202D4-3E17-44EB-9FA4-907557E40392}" dt="2022-11-03T11:44:52.178" v="3346"/>
          <ac:spMkLst>
            <pc:docMk/>
            <pc:sldMk cId="3556356045" sldId="2144868128"/>
            <ac:spMk id="22" creationId="{DAAAFC25-65CD-4131-8F68-6D821DDC61F7}"/>
          </ac:spMkLst>
        </pc:spChg>
        <pc:spChg chg="add mod">
          <ac:chgData name="Brown, Peter" userId="34fe0430-42e1-4120-9d39-668328cfa1f0" providerId="ADAL" clId="{212202D4-3E17-44EB-9FA4-907557E40392}" dt="2022-11-03T11:44:52.178" v="3346"/>
          <ac:spMkLst>
            <pc:docMk/>
            <pc:sldMk cId="3556356045" sldId="2144868128"/>
            <ac:spMk id="23" creationId="{4475FB0A-C9C7-BA2D-FC5E-E8557916A72A}"/>
          </ac:spMkLst>
        </pc:spChg>
        <pc:spChg chg="add mod">
          <ac:chgData name="Brown, Peter" userId="34fe0430-42e1-4120-9d39-668328cfa1f0" providerId="ADAL" clId="{212202D4-3E17-44EB-9FA4-907557E40392}" dt="2022-11-03T11:44:52.178" v="3346"/>
          <ac:spMkLst>
            <pc:docMk/>
            <pc:sldMk cId="3556356045" sldId="2144868128"/>
            <ac:spMk id="24" creationId="{7C208EDF-173A-7052-FE8F-DA22BDD4C144}"/>
          </ac:spMkLst>
        </pc:spChg>
        <pc:spChg chg="add mod">
          <ac:chgData name="Brown, Peter" userId="34fe0430-42e1-4120-9d39-668328cfa1f0" providerId="ADAL" clId="{212202D4-3E17-44EB-9FA4-907557E40392}" dt="2022-11-03T11:44:52.178" v="3346"/>
          <ac:spMkLst>
            <pc:docMk/>
            <pc:sldMk cId="3556356045" sldId="2144868128"/>
            <ac:spMk id="25" creationId="{CD4D9D2A-B0B7-8E64-06B7-AB61BC053850}"/>
          </ac:spMkLst>
        </pc:spChg>
        <pc:picChg chg="add mod">
          <ac:chgData name="Brown, Peter" userId="34fe0430-42e1-4120-9d39-668328cfa1f0" providerId="ADAL" clId="{212202D4-3E17-44EB-9FA4-907557E40392}" dt="2022-11-03T11:44:52.178" v="3346"/>
          <ac:picMkLst>
            <pc:docMk/>
            <pc:sldMk cId="3556356045" sldId="2144868128"/>
            <ac:picMk id="9" creationId="{6A5882E0-66EC-A085-6C84-CF0726D06167}"/>
          </ac:picMkLst>
        </pc:picChg>
        <pc:picChg chg="add mod">
          <ac:chgData name="Brown, Peter" userId="34fe0430-42e1-4120-9d39-668328cfa1f0" providerId="ADAL" clId="{212202D4-3E17-44EB-9FA4-907557E40392}" dt="2022-11-03T11:44:52.178" v="3346"/>
          <ac:picMkLst>
            <pc:docMk/>
            <pc:sldMk cId="3556356045" sldId="2144868128"/>
            <ac:picMk id="10" creationId="{2E6DD732-AFF2-4906-E1E4-A2E67139595C}"/>
          </ac:picMkLst>
        </pc:picChg>
        <pc:picChg chg="add mod">
          <ac:chgData name="Brown, Peter" userId="34fe0430-42e1-4120-9d39-668328cfa1f0" providerId="ADAL" clId="{212202D4-3E17-44EB-9FA4-907557E40392}" dt="2022-11-03T11:44:52.178" v="3346"/>
          <ac:picMkLst>
            <pc:docMk/>
            <pc:sldMk cId="3556356045" sldId="2144868128"/>
            <ac:picMk id="11" creationId="{03B2258A-4E88-AF95-AFAC-D740140DA4AE}"/>
          </ac:picMkLst>
        </pc:picChg>
        <pc:picChg chg="add mod">
          <ac:chgData name="Brown, Peter" userId="34fe0430-42e1-4120-9d39-668328cfa1f0" providerId="ADAL" clId="{212202D4-3E17-44EB-9FA4-907557E40392}" dt="2022-11-03T11:44:52.178" v="3346"/>
          <ac:picMkLst>
            <pc:docMk/>
            <pc:sldMk cId="3556356045" sldId="2144868128"/>
            <ac:picMk id="12" creationId="{AAA3ADB9-12B0-D4A7-1869-41EA1072C214}"/>
          </ac:picMkLst>
        </pc:picChg>
        <pc:picChg chg="add mod">
          <ac:chgData name="Brown, Peter" userId="34fe0430-42e1-4120-9d39-668328cfa1f0" providerId="ADAL" clId="{212202D4-3E17-44EB-9FA4-907557E40392}" dt="2022-11-03T11:44:52.178" v="3346"/>
          <ac:picMkLst>
            <pc:docMk/>
            <pc:sldMk cId="3556356045" sldId="2144868128"/>
            <ac:picMk id="13" creationId="{8EE31A8E-CCF5-53F5-B349-D975F1D87E88}"/>
          </ac:picMkLst>
        </pc:picChg>
        <pc:cxnChg chg="add mod">
          <ac:chgData name="Brown, Peter" userId="34fe0430-42e1-4120-9d39-668328cfa1f0" providerId="ADAL" clId="{212202D4-3E17-44EB-9FA4-907557E40392}" dt="2022-11-03T11:44:52.178" v="3346"/>
          <ac:cxnSpMkLst>
            <pc:docMk/>
            <pc:sldMk cId="3556356045" sldId="2144868128"/>
            <ac:cxnSpMk id="7" creationId="{2E7F0B65-C915-378C-FB6E-E965E2B4F3E0}"/>
          </ac:cxnSpMkLst>
        </pc:cxnChg>
        <pc:cxnChg chg="add mod">
          <ac:chgData name="Brown, Peter" userId="34fe0430-42e1-4120-9d39-668328cfa1f0" providerId="ADAL" clId="{212202D4-3E17-44EB-9FA4-907557E40392}" dt="2022-11-03T11:44:52.178" v="3346"/>
          <ac:cxnSpMkLst>
            <pc:docMk/>
            <pc:sldMk cId="3556356045" sldId="2144868128"/>
            <ac:cxnSpMk id="14" creationId="{079731AF-C910-6E3B-C084-87A66805B2C7}"/>
          </ac:cxnSpMkLst>
        </pc:cxnChg>
        <pc:cxnChg chg="add mod">
          <ac:chgData name="Brown, Peter" userId="34fe0430-42e1-4120-9d39-668328cfa1f0" providerId="ADAL" clId="{212202D4-3E17-44EB-9FA4-907557E40392}" dt="2022-11-03T11:44:52.178" v="3346"/>
          <ac:cxnSpMkLst>
            <pc:docMk/>
            <pc:sldMk cId="3556356045" sldId="2144868128"/>
            <ac:cxnSpMk id="15" creationId="{4F9FF1E6-67B4-BBB7-5244-BBC285881EBD}"/>
          </ac:cxnSpMkLst>
        </pc:cxnChg>
        <pc:cxnChg chg="add mod">
          <ac:chgData name="Brown, Peter" userId="34fe0430-42e1-4120-9d39-668328cfa1f0" providerId="ADAL" clId="{212202D4-3E17-44EB-9FA4-907557E40392}" dt="2022-11-03T11:44:52.178" v="3346"/>
          <ac:cxnSpMkLst>
            <pc:docMk/>
            <pc:sldMk cId="3556356045" sldId="2144868128"/>
            <ac:cxnSpMk id="16" creationId="{9E4E5A22-5FD6-B28B-8518-9BC66D039010}"/>
          </ac:cxnSpMkLst>
        </pc:cxnChg>
        <pc:cxnChg chg="add mod">
          <ac:chgData name="Brown, Peter" userId="34fe0430-42e1-4120-9d39-668328cfa1f0" providerId="ADAL" clId="{212202D4-3E17-44EB-9FA4-907557E40392}" dt="2022-11-03T11:44:52.178" v="3346"/>
          <ac:cxnSpMkLst>
            <pc:docMk/>
            <pc:sldMk cId="3556356045" sldId="2144868128"/>
            <ac:cxnSpMk id="17" creationId="{71D8FC57-22C7-5BCE-2DC8-8CF3FA2C7A56}"/>
          </ac:cxnSpMkLst>
        </pc:cxnChg>
        <pc:cxnChg chg="add mod">
          <ac:chgData name="Brown, Peter" userId="34fe0430-42e1-4120-9d39-668328cfa1f0" providerId="ADAL" clId="{212202D4-3E17-44EB-9FA4-907557E40392}" dt="2022-11-03T11:44:52.178" v="3346"/>
          <ac:cxnSpMkLst>
            <pc:docMk/>
            <pc:sldMk cId="3556356045" sldId="2144868128"/>
            <ac:cxnSpMk id="18" creationId="{F6AC6914-90DF-815F-7B1D-13E8629D25F0}"/>
          </ac:cxnSpMkLst>
        </pc:cxnChg>
        <pc:cxnChg chg="add mod">
          <ac:chgData name="Brown, Peter" userId="34fe0430-42e1-4120-9d39-668328cfa1f0" providerId="ADAL" clId="{212202D4-3E17-44EB-9FA4-907557E40392}" dt="2022-11-03T11:44:52.178" v="3346"/>
          <ac:cxnSpMkLst>
            <pc:docMk/>
            <pc:sldMk cId="3556356045" sldId="2144868128"/>
            <ac:cxnSpMk id="19" creationId="{0FE44214-FB6B-F7FA-BC78-BF1AD9E7DD48}"/>
          </ac:cxnSpMkLst>
        </pc:cxnChg>
        <pc:cxnChg chg="add mod">
          <ac:chgData name="Brown, Peter" userId="34fe0430-42e1-4120-9d39-668328cfa1f0" providerId="ADAL" clId="{212202D4-3E17-44EB-9FA4-907557E40392}" dt="2022-11-03T11:44:52.178" v="3346"/>
          <ac:cxnSpMkLst>
            <pc:docMk/>
            <pc:sldMk cId="3556356045" sldId="2144868128"/>
            <ac:cxnSpMk id="20" creationId="{366FD989-DC61-5C75-14E2-6D93C37030A1}"/>
          </ac:cxnSpMkLst>
        </pc:cxnChg>
      </pc:sldChg>
      <pc:sldChg chg="del">
        <pc:chgData name="Brown, Peter" userId="34fe0430-42e1-4120-9d39-668328cfa1f0" providerId="ADAL" clId="{212202D4-3E17-44EB-9FA4-907557E40392}" dt="2022-11-03T10:02:45.084" v="89" actId="47"/>
        <pc:sldMkLst>
          <pc:docMk/>
          <pc:sldMk cId="1855356465" sldId="2144868129"/>
        </pc:sldMkLst>
      </pc:sldChg>
      <pc:sldChg chg="addSp modSp new mod">
        <pc:chgData name="Brown, Peter" userId="34fe0430-42e1-4120-9d39-668328cfa1f0" providerId="ADAL" clId="{212202D4-3E17-44EB-9FA4-907557E40392}" dt="2022-11-03T11:48:06.545" v="3381" actId="20577"/>
        <pc:sldMkLst>
          <pc:docMk/>
          <pc:sldMk cId="2280052457" sldId="2144868129"/>
        </pc:sldMkLst>
        <pc:spChg chg="mod">
          <ac:chgData name="Brown, Peter" userId="34fe0430-42e1-4120-9d39-668328cfa1f0" providerId="ADAL" clId="{212202D4-3E17-44EB-9FA4-907557E40392}" dt="2022-11-03T11:48:06.545" v="3381" actId="20577"/>
          <ac:spMkLst>
            <pc:docMk/>
            <pc:sldMk cId="2280052457" sldId="2144868129"/>
            <ac:spMk id="4" creationId="{3EDC21BE-E14F-898A-05E9-07A285C3EAAB}"/>
          </ac:spMkLst>
        </pc:spChg>
        <pc:picChg chg="add mod">
          <ac:chgData name="Brown, Peter" userId="34fe0430-42e1-4120-9d39-668328cfa1f0" providerId="ADAL" clId="{212202D4-3E17-44EB-9FA4-907557E40392}" dt="2022-11-03T11:47:03.972" v="3352"/>
          <ac:picMkLst>
            <pc:docMk/>
            <pc:sldMk cId="2280052457" sldId="2144868129"/>
            <ac:picMk id="5" creationId="{CE353B1D-112A-9010-7482-562BFA75E1CE}"/>
          </ac:picMkLst>
        </pc:picChg>
      </pc:sldChg>
      <pc:sldMasterChg chg="delSldLayout">
        <pc:chgData name="Brown, Peter" userId="34fe0430-42e1-4120-9d39-668328cfa1f0" providerId="ADAL" clId="{212202D4-3E17-44EB-9FA4-907557E40392}" dt="2022-11-03T11:22:24.664" v="3027" actId="2696"/>
        <pc:sldMasterMkLst>
          <pc:docMk/>
          <pc:sldMasterMk cId="1207204398" sldId="2147483660"/>
        </pc:sldMasterMkLst>
        <pc:sldLayoutChg chg="del">
          <pc:chgData name="Brown, Peter" userId="34fe0430-42e1-4120-9d39-668328cfa1f0" providerId="ADAL" clId="{212202D4-3E17-44EB-9FA4-907557E40392}" dt="2022-11-03T10:02:13.856" v="73" actId="47"/>
          <pc:sldLayoutMkLst>
            <pc:docMk/>
            <pc:sldMasterMk cId="1207204398" sldId="2147483660"/>
            <pc:sldLayoutMk cId="2419593383" sldId="2147483661"/>
          </pc:sldLayoutMkLst>
        </pc:sldLayoutChg>
        <pc:sldLayoutChg chg="del">
          <pc:chgData name="Brown, Peter" userId="34fe0430-42e1-4120-9d39-668328cfa1f0" providerId="ADAL" clId="{212202D4-3E17-44EB-9FA4-907557E40392}" dt="2022-11-03T11:22:24.664" v="3027" actId="2696"/>
          <pc:sldLayoutMkLst>
            <pc:docMk/>
            <pc:sldMasterMk cId="1207204398" sldId="2147483660"/>
            <pc:sldLayoutMk cId="672669121" sldId="2147483768"/>
          </pc:sldLayoutMkLst>
        </pc:sldLayoutChg>
      </pc:sldMasterChg>
    </pc:docChg>
  </pc:docChgLst>
  <pc:docChgLst>
    <pc:chgData name="Brown, Peter" userId="34fe0430-42e1-4120-9d39-668328cfa1f0" providerId="ADAL" clId="{09C399C2-2323-4A27-89B9-EC377E2969F4}"/>
    <pc:docChg chg="custSel addSld delSld modSld sldOrd">
      <pc:chgData name="Brown, Peter" userId="34fe0430-42e1-4120-9d39-668328cfa1f0" providerId="ADAL" clId="{09C399C2-2323-4A27-89B9-EC377E2969F4}" dt="2023-05-25T14:18:49.753" v="5109" actId="478"/>
      <pc:docMkLst>
        <pc:docMk/>
      </pc:docMkLst>
      <pc:sldChg chg="del">
        <pc:chgData name="Brown, Peter" userId="34fe0430-42e1-4120-9d39-668328cfa1f0" providerId="ADAL" clId="{09C399C2-2323-4A27-89B9-EC377E2969F4}" dt="2023-05-23T13:59:44.204" v="187" actId="47"/>
        <pc:sldMkLst>
          <pc:docMk/>
          <pc:sldMk cId="3033853086" sldId="1251"/>
        </pc:sldMkLst>
      </pc:sldChg>
      <pc:sldChg chg="del">
        <pc:chgData name="Brown, Peter" userId="34fe0430-42e1-4120-9d39-668328cfa1f0" providerId="ADAL" clId="{09C399C2-2323-4A27-89B9-EC377E2969F4}" dt="2023-05-23T13:59:45.232" v="188" actId="47"/>
        <pc:sldMkLst>
          <pc:docMk/>
          <pc:sldMk cId="1427196750" sldId="1280"/>
        </pc:sldMkLst>
      </pc:sldChg>
      <pc:sldChg chg="del">
        <pc:chgData name="Brown, Peter" userId="34fe0430-42e1-4120-9d39-668328cfa1f0" providerId="ADAL" clId="{09C399C2-2323-4A27-89B9-EC377E2969F4}" dt="2023-05-23T13:59:46.185" v="189" actId="47"/>
        <pc:sldMkLst>
          <pc:docMk/>
          <pc:sldMk cId="3949693503" sldId="1281"/>
        </pc:sldMkLst>
      </pc:sldChg>
      <pc:sldChg chg="add">
        <pc:chgData name="Brown, Peter" userId="34fe0430-42e1-4120-9d39-668328cfa1f0" providerId="ADAL" clId="{09C399C2-2323-4A27-89B9-EC377E2969F4}" dt="2023-05-25T14:18:22.651" v="5108"/>
        <pc:sldMkLst>
          <pc:docMk/>
          <pc:sldMk cId="3968081389" sldId="2952"/>
        </pc:sldMkLst>
      </pc:sldChg>
      <pc:sldChg chg="modSp mod">
        <pc:chgData name="Brown, Peter" userId="34fe0430-42e1-4120-9d39-668328cfa1f0" providerId="ADAL" clId="{09C399C2-2323-4A27-89B9-EC377E2969F4}" dt="2023-05-23T13:58:04.067" v="133" actId="20577"/>
        <pc:sldMkLst>
          <pc:docMk/>
          <pc:sldMk cId="3504486598" sldId="2144868045"/>
        </pc:sldMkLst>
        <pc:spChg chg="mod">
          <ac:chgData name="Brown, Peter" userId="34fe0430-42e1-4120-9d39-668328cfa1f0" providerId="ADAL" clId="{09C399C2-2323-4A27-89B9-EC377E2969F4}" dt="2023-05-23T13:58:04.067" v="133" actId="20577"/>
          <ac:spMkLst>
            <pc:docMk/>
            <pc:sldMk cId="3504486598" sldId="2144868045"/>
            <ac:spMk id="6" creationId="{B50B132A-14BE-BF44-B30C-6FA6FF587889}"/>
          </ac:spMkLst>
        </pc:spChg>
        <pc:spChg chg="mod">
          <ac:chgData name="Brown, Peter" userId="34fe0430-42e1-4120-9d39-668328cfa1f0" providerId="ADAL" clId="{09C399C2-2323-4A27-89B9-EC377E2969F4}" dt="2023-05-23T13:57:44.316" v="72" actId="20577"/>
          <ac:spMkLst>
            <pc:docMk/>
            <pc:sldMk cId="3504486598" sldId="2144868045"/>
            <ac:spMk id="7" creationId="{66E36216-1D78-534C-81EA-E04BA0CB4291}"/>
          </ac:spMkLst>
        </pc:spChg>
      </pc:sldChg>
      <pc:sldChg chg="modSp mod">
        <pc:chgData name="Brown, Peter" userId="34fe0430-42e1-4120-9d39-668328cfa1f0" providerId="ADAL" clId="{09C399C2-2323-4A27-89B9-EC377E2969F4}" dt="2023-05-23T13:58:22.477" v="150" actId="20577"/>
        <pc:sldMkLst>
          <pc:docMk/>
          <pc:sldMk cId="544938540" sldId="2144868075"/>
        </pc:sldMkLst>
        <pc:spChg chg="mod">
          <ac:chgData name="Brown, Peter" userId="34fe0430-42e1-4120-9d39-668328cfa1f0" providerId="ADAL" clId="{09C399C2-2323-4A27-89B9-EC377E2969F4}" dt="2023-05-23T13:58:22.477" v="150" actId="20577"/>
          <ac:spMkLst>
            <pc:docMk/>
            <pc:sldMk cId="544938540" sldId="2144868075"/>
            <ac:spMk id="2" creationId="{D7A801C4-BEDE-B068-9867-DEDF20B23625}"/>
          </ac:spMkLst>
        </pc:spChg>
      </pc:sldChg>
      <pc:sldChg chg="del">
        <pc:chgData name="Brown, Peter" userId="34fe0430-42e1-4120-9d39-668328cfa1f0" providerId="ADAL" clId="{09C399C2-2323-4A27-89B9-EC377E2969F4}" dt="2023-05-23T13:59:52.487" v="194" actId="47"/>
        <pc:sldMkLst>
          <pc:docMk/>
          <pc:sldMk cId="1734550546" sldId="2144868111"/>
        </pc:sldMkLst>
      </pc:sldChg>
      <pc:sldChg chg="del">
        <pc:chgData name="Brown, Peter" userId="34fe0430-42e1-4120-9d39-668328cfa1f0" providerId="ADAL" clId="{09C399C2-2323-4A27-89B9-EC377E2969F4}" dt="2023-05-23T13:58:54.324" v="157" actId="47"/>
        <pc:sldMkLst>
          <pc:docMk/>
          <pc:sldMk cId="1243759893" sldId="2144868113"/>
        </pc:sldMkLst>
      </pc:sldChg>
      <pc:sldChg chg="del">
        <pc:chgData name="Brown, Peter" userId="34fe0430-42e1-4120-9d39-668328cfa1f0" providerId="ADAL" clId="{09C399C2-2323-4A27-89B9-EC377E2969F4}" dt="2023-05-23T13:58:55.809" v="158" actId="47"/>
        <pc:sldMkLst>
          <pc:docMk/>
          <pc:sldMk cId="3801427309" sldId="2144868114"/>
        </pc:sldMkLst>
      </pc:sldChg>
      <pc:sldChg chg="ord modNotesTx">
        <pc:chgData name="Brown, Peter" userId="34fe0430-42e1-4120-9d39-668328cfa1f0" providerId="ADAL" clId="{09C399C2-2323-4A27-89B9-EC377E2969F4}" dt="2023-05-25T11:52:27.808" v="3717" actId="20577"/>
        <pc:sldMkLst>
          <pc:docMk/>
          <pc:sldMk cId="2126679556" sldId="2144868115"/>
        </pc:sldMkLst>
      </pc:sldChg>
      <pc:sldChg chg="del">
        <pc:chgData name="Brown, Peter" userId="34fe0430-42e1-4120-9d39-668328cfa1f0" providerId="ADAL" clId="{09C399C2-2323-4A27-89B9-EC377E2969F4}" dt="2023-05-23T13:58:56.647" v="159" actId="47"/>
        <pc:sldMkLst>
          <pc:docMk/>
          <pc:sldMk cId="1853640568" sldId="2144868116"/>
        </pc:sldMkLst>
      </pc:sldChg>
      <pc:sldChg chg="delSp modSp mod modNotesTx">
        <pc:chgData name="Brown, Peter" userId="34fe0430-42e1-4120-9d39-668328cfa1f0" providerId="ADAL" clId="{09C399C2-2323-4A27-89B9-EC377E2969F4}" dt="2023-05-25T10:46:25.039" v="2966" actId="20577"/>
        <pc:sldMkLst>
          <pc:docMk/>
          <pc:sldMk cId="3779662406" sldId="2144868117"/>
        </pc:sldMkLst>
        <pc:spChg chg="mod">
          <ac:chgData name="Brown, Peter" userId="34fe0430-42e1-4120-9d39-668328cfa1f0" providerId="ADAL" clId="{09C399C2-2323-4A27-89B9-EC377E2969F4}" dt="2023-05-23T13:59:35.980" v="183" actId="20577"/>
          <ac:spMkLst>
            <pc:docMk/>
            <pc:sldMk cId="3779662406" sldId="2144868117"/>
            <ac:spMk id="5" creationId="{8FFE8845-8B93-3FEA-0C6F-427029E8EF06}"/>
          </ac:spMkLst>
        </pc:spChg>
        <pc:picChg chg="del">
          <ac:chgData name="Brown, Peter" userId="34fe0430-42e1-4120-9d39-668328cfa1f0" providerId="ADAL" clId="{09C399C2-2323-4A27-89B9-EC377E2969F4}" dt="2023-05-23T13:59:30.722" v="169" actId="478"/>
          <ac:picMkLst>
            <pc:docMk/>
            <pc:sldMk cId="3779662406" sldId="2144868117"/>
            <ac:picMk id="3" creationId="{7AEE60B4-C4A7-61B7-EF5F-5A11197F0BEC}"/>
          </ac:picMkLst>
        </pc:picChg>
      </pc:sldChg>
      <pc:sldChg chg="mod ord modShow">
        <pc:chgData name="Brown, Peter" userId="34fe0430-42e1-4120-9d39-668328cfa1f0" providerId="ADAL" clId="{09C399C2-2323-4A27-89B9-EC377E2969F4}" dt="2023-05-23T14:00:27.671" v="195" actId="729"/>
        <pc:sldMkLst>
          <pc:docMk/>
          <pc:sldMk cId="1445932239" sldId="2144868118"/>
        </pc:sldMkLst>
      </pc:sldChg>
      <pc:sldChg chg="del">
        <pc:chgData name="Brown, Peter" userId="34fe0430-42e1-4120-9d39-668328cfa1f0" providerId="ADAL" clId="{09C399C2-2323-4A27-89B9-EC377E2969F4}" dt="2023-05-23T13:59:04.319" v="162" actId="47"/>
        <pc:sldMkLst>
          <pc:docMk/>
          <pc:sldMk cId="4042315521" sldId="2144868119"/>
        </pc:sldMkLst>
      </pc:sldChg>
      <pc:sldChg chg="del">
        <pc:chgData name="Brown, Peter" userId="34fe0430-42e1-4120-9d39-668328cfa1f0" providerId="ADAL" clId="{09C399C2-2323-4A27-89B9-EC377E2969F4}" dt="2023-05-23T13:59:05.120" v="163" actId="47"/>
        <pc:sldMkLst>
          <pc:docMk/>
          <pc:sldMk cId="277521080" sldId="2144868120"/>
        </pc:sldMkLst>
      </pc:sldChg>
      <pc:sldChg chg="del">
        <pc:chgData name="Brown, Peter" userId="34fe0430-42e1-4120-9d39-668328cfa1f0" providerId="ADAL" clId="{09C399C2-2323-4A27-89B9-EC377E2969F4}" dt="2023-05-23T13:59:05.736" v="164" actId="47"/>
        <pc:sldMkLst>
          <pc:docMk/>
          <pc:sldMk cId="4029955044" sldId="2144868121"/>
        </pc:sldMkLst>
      </pc:sldChg>
      <pc:sldChg chg="del">
        <pc:chgData name="Brown, Peter" userId="34fe0430-42e1-4120-9d39-668328cfa1f0" providerId="ADAL" clId="{09C399C2-2323-4A27-89B9-EC377E2969F4}" dt="2023-05-23T13:59:07.309" v="165" actId="47"/>
        <pc:sldMkLst>
          <pc:docMk/>
          <pc:sldMk cId="3666308230" sldId="2144868124"/>
        </pc:sldMkLst>
      </pc:sldChg>
      <pc:sldChg chg="modSp mod ord">
        <pc:chgData name="Brown, Peter" userId="34fe0430-42e1-4120-9d39-668328cfa1f0" providerId="ADAL" clId="{09C399C2-2323-4A27-89B9-EC377E2969F4}" dt="2023-05-25T09:57:36.173" v="2048" actId="20577"/>
        <pc:sldMkLst>
          <pc:docMk/>
          <pc:sldMk cId="304799000" sldId="2144868125"/>
        </pc:sldMkLst>
        <pc:spChg chg="mod">
          <ac:chgData name="Brown, Peter" userId="34fe0430-42e1-4120-9d39-668328cfa1f0" providerId="ADAL" clId="{09C399C2-2323-4A27-89B9-EC377E2969F4}" dt="2023-05-25T09:57:36.173" v="2048" actId="20577"/>
          <ac:spMkLst>
            <pc:docMk/>
            <pc:sldMk cId="304799000" sldId="2144868125"/>
            <ac:spMk id="24" creationId="{73DB8D2A-0898-610F-CF16-27F7922E1674}"/>
          </ac:spMkLst>
        </pc:spChg>
      </pc:sldChg>
      <pc:sldChg chg="del">
        <pc:chgData name="Brown, Peter" userId="34fe0430-42e1-4120-9d39-668328cfa1f0" providerId="ADAL" clId="{09C399C2-2323-4A27-89B9-EC377E2969F4}" dt="2023-05-23T13:59:46.837" v="190" actId="47"/>
        <pc:sldMkLst>
          <pc:docMk/>
          <pc:sldMk cId="2493844383" sldId="2144868126"/>
        </pc:sldMkLst>
      </pc:sldChg>
      <pc:sldChg chg="del">
        <pc:chgData name="Brown, Peter" userId="34fe0430-42e1-4120-9d39-668328cfa1f0" providerId="ADAL" clId="{09C399C2-2323-4A27-89B9-EC377E2969F4}" dt="2023-05-23T13:59:49.005" v="193" actId="47"/>
        <pc:sldMkLst>
          <pc:docMk/>
          <pc:sldMk cId="1519754775" sldId="2144868127"/>
        </pc:sldMkLst>
      </pc:sldChg>
      <pc:sldChg chg="del">
        <pc:chgData name="Brown, Peter" userId="34fe0430-42e1-4120-9d39-668328cfa1f0" providerId="ADAL" clId="{09C399C2-2323-4A27-89B9-EC377E2969F4}" dt="2023-05-23T13:59:47.579" v="191" actId="47"/>
        <pc:sldMkLst>
          <pc:docMk/>
          <pc:sldMk cId="3556356045" sldId="2144868128"/>
        </pc:sldMkLst>
      </pc:sldChg>
      <pc:sldChg chg="del">
        <pc:chgData name="Brown, Peter" userId="34fe0430-42e1-4120-9d39-668328cfa1f0" providerId="ADAL" clId="{09C399C2-2323-4A27-89B9-EC377E2969F4}" dt="2023-05-23T13:59:48.287" v="192" actId="47"/>
        <pc:sldMkLst>
          <pc:docMk/>
          <pc:sldMk cId="2280052457" sldId="2144868129"/>
        </pc:sldMkLst>
      </pc:sldChg>
      <pc:sldChg chg="addSp delSp modSp new mod modClrScheme chgLayout modNotesTx">
        <pc:chgData name="Brown, Peter" userId="34fe0430-42e1-4120-9d39-668328cfa1f0" providerId="ADAL" clId="{09C399C2-2323-4A27-89B9-EC377E2969F4}" dt="2023-05-25T14:06:19.259" v="4934" actId="20577"/>
        <pc:sldMkLst>
          <pc:docMk/>
          <pc:sldMk cId="1782099035" sldId="2144868130"/>
        </pc:sldMkLst>
        <pc:spChg chg="del mod ord">
          <ac:chgData name="Brown, Peter" userId="34fe0430-42e1-4120-9d39-668328cfa1f0" providerId="ADAL" clId="{09C399C2-2323-4A27-89B9-EC377E2969F4}" dt="2023-05-23T13:59:22.159" v="167" actId="700"/>
          <ac:spMkLst>
            <pc:docMk/>
            <pc:sldMk cId="1782099035" sldId="2144868130"/>
            <ac:spMk id="2" creationId="{38C970E1-11FB-B100-315D-A55BD4D53B54}"/>
          </ac:spMkLst>
        </pc:spChg>
        <pc:spChg chg="add mod ord">
          <ac:chgData name="Brown, Peter" userId="34fe0430-42e1-4120-9d39-668328cfa1f0" providerId="ADAL" clId="{09C399C2-2323-4A27-89B9-EC377E2969F4}" dt="2023-05-23T14:00:49.676" v="239" actId="20577"/>
          <ac:spMkLst>
            <pc:docMk/>
            <pc:sldMk cId="1782099035" sldId="2144868130"/>
            <ac:spMk id="3" creationId="{2D9588E3-8B11-CA19-4DC3-21C888525636}"/>
          </ac:spMkLst>
        </pc:spChg>
        <pc:spChg chg="add mod ord">
          <ac:chgData name="Brown, Peter" userId="34fe0430-42e1-4120-9d39-668328cfa1f0" providerId="ADAL" clId="{09C399C2-2323-4A27-89B9-EC377E2969F4}" dt="2023-05-25T14:06:19.259" v="4934" actId="20577"/>
          <ac:spMkLst>
            <pc:docMk/>
            <pc:sldMk cId="1782099035" sldId="2144868130"/>
            <ac:spMk id="4" creationId="{0C13F207-0FAD-A023-41A9-6725E3DBF070}"/>
          </ac:spMkLst>
        </pc:spChg>
      </pc:sldChg>
      <pc:sldChg chg="addSp modSp new mod modAnim modNotesTx">
        <pc:chgData name="Brown, Peter" userId="34fe0430-42e1-4120-9d39-668328cfa1f0" providerId="ADAL" clId="{09C399C2-2323-4A27-89B9-EC377E2969F4}" dt="2023-05-25T14:15:48.191" v="5100" actId="20577"/>
        <pc:sldMkLst>
          <pc:docMk/>
          <pc:sldMk cId="397668530" sldId="2144868131"/>
        </pc:sldMkLst>
        <pc:spChg chg="mod">
          <ac:chgData name="Brown, Peter" userId="34fe0430-42e1-4120-9d39-668328cfa1f0" providerId="ADAL" clId="{09C399C2-2323-4A27-89B9-EC377E2969F4}" dt="2023-05-25T13:45:45.312" v="4294" actId="20577"/>
          <ac:spMkLst>
            <pc:docMk/>
            <pc:sldMk cId="397668530" sldId="2144868131"/>
            <ac:spMk id="3" creationId="{AB6CFA89-D2DC-381F-DF23-00950C1F7B14}"/>
          </ac:spMkLst>
        </pc:spChg>
        <pc:spChg chg="mod">
          <ac:chgData name="Brown, Peter" userId="34fe0430-42e1-4120-9d39-668328cfa1f0" providerId="ADAL" clId="{09C399C2-2323-4A27-89B9-EC377E2969F4}" dt="2023-05-23T14:34:30.564" v="1453" actId="20577"/>
          <ac:spMkLst>
            <pc:docMk/>
            <pc:sldMk cId="397668530" sldId="2144868131"/>
            <ac:spMk id="4" creationId="{D98BCDC7-84BF-BC6B-B685-045E9A4FC6F2}"/>
          </ac:spMkLst>
        </pc:spChg>
        <pc:spChg chg="add mod">
          <ac:chgData name="Brown, Peter" userId="34fe0430-42e1-4120-9d39-668328cfa1f0" providerId="ADAL" clId="{09C399C2-2323-4A27-89B9-EC377E2969F4}" dt="2023-05-25T14:15:48.191" v="5100" actId="20577"/>
          <ac:spMkLst>
            <pc:docMk/>
            <pc:sldMk cId="397668530" sldId="2144868131"/>
            <ac:spMk id="5" creationId="{E17F8F53-B332-2D5B-A7A5-29C003AD0FE9}"/>
          </ac:spMkLst>
        </pc:spChg>
      </pc:sldChg>
      <pc:sldChg chg="modSp new mod ord modNotesTx">
        <pc:chgData name="Brown, Peter" userId="34fe0430-42e1-4120-9d39-668328cfa1f0" providerId="ADAL" clId="{09C399C2-2323-4A27-89B9-EC377E2969F4}" dt="2023-05-25T14:13:51.882" v="5064" actId="20577"/>
        <pc:sldMkLst>
          <pc:docMk/>
          <pc:sldMk cId="3915684585" sldId="2144868132"/>
        </pc:sldMkLst>
        <pc:spChg chg="mod">
          <ac:chgData name="Brown, Peter" userId="34fe0430-42e1-4120-9d39-668328cfa1f0" providerId="ADAL" clId="{09C399C2-2323-4A27-89B9-EC377E2969F4}" dt="2023-05-25T11:44:27.534" v="3612" actId="114"/>
          <ac:spMkLst>
            <pc:docMk/>
            <pc:sldMk cId="3915684585" sldId="2144868132"/>
            <ac:spMk id="3" creationId="{E3B701BD-39AD-1E07-2F5F-804B55AC9D49}"/>
          </ac:spMkLst>
        </pc:spChg>
        <pc:spChg chg="mod">
          <ac:chgData name="Brown, Peter" userId="34fe0430-42e1-4120-9d39-668328cfa1f0" providerId="ADAL" clId="{09C399C2-2323-4A27-89B9-EC377E2969F4}" dt="2023-05-25T10:46:08.960" v="2965" actId="20577"/>
          <ac:spMkLst>
            <pc:docMk/>
            <pc:sldMk cId="3915684585" sldId="2144868132"/>
            <ac:spMk id="4" creationId="{D7A2CECB-4589-F8B3-804F-05BCBB8959B8}"/>
          </ac:spMkLst>
        </pc:spChg>
      </pc:sldChg>
      <pc:sldChg chg="modSp new mod ord modNotesTx">
        <pc:chgData name="Brown, Peter" userId="34fe0430-42e1-4120-9d39-668328cfa1f0" providerId="ADAL" clId="{09C399C2-2323-4A27-89B9-EC377E2969F4}" dt="2023-05-25T14:07:47.199" v="5025" actId="20577"/>
        <pc:sldMkLst>
          <pc:docMk/>
          <pc:sldMk cId="413409658" sldId="2144868133"/>
        </pc:sldMkLst>
        <pc:spChg chg="mod">
          <ac:chgData name="Brown, Peter" userId="34fe0430-42e1-4120-9d39-668328cfa1f0" providerId="ADAL" clId="{09C399C2-2323-4A27-89B9-EC377E2969F4}" dt="2023-05-25T14:03:09.633" v="4799" actId="20577"/>
          <ac:spMkLst>
            <pc:docMk/>
            <pc:sldMk cId="413409658" sldId="2144868133"/>
            <ac:spMk id="3" creationId="{5ACFD9B0-936A-A871-8490-AEB7943BE541}"/>
          </ac:spMkLst>
        </pc:spChg>
        <pc:spChg chg="mod">
          <ac:chgData name="Brown, Peter" userId="34fe0430-42e1-4120-9d39-668328cfa1f0" providerId="ADAL" clId="{09C399C2-2323-4A27-89B9-EC377E2969F4}" dt="2023-05-23T14:14:25.273" v="929" actId="20577"/>
          <ac:spMkLst>
            <pc:docMk/>
            <pc:sldMk cId="413409658" sldId="2144868133"/>
            <ac:spMk id="4" creationId="{00B854F2-CABD-6D1E-6815-00F99694DB0E}"/>
          </ac:spMkLst>
        </pc:spChg>
      </pc:sldChg>
      <pc:sldChg chg="addSp modSp new mod modAnim modNotesTx">
        <pc:chgData name="Brown, Peter" userId="34fe0430-42e1-4120-9d39-668328cfa1f0" providerId="ADAL" clId="{09C399C2-2323-4A27-89B9-EC377E2969F4}" dt="2023-05-25T14:15:53.267" v="5105" actId="20577"/>
        <pc:sldMkLst>
          <pc:docMk/>
          <pc:sldMk cId="2901568145" sldId="2144868134"/>
        </pc:sldMkLst>
        <pc:spChg chg="mod">
          <ac:chgData name="Brown, Peter" userId="34fe0430-42e1-4120-9d39-668328cfa1f0" providerId="ADAL" clId="{09C399C2-2323-4A27-89B9-EC377E2969F4}" dt="2023-05-25T14:11:39.882" v="5053" actId="20577"/>
          <ac:spMkLst>
            <pc:docMk/>
            <pc:sldMk cId="2901568145" sldId="2144868134"/>
            <ac:spMk id="3" creationId="{7197730B-25B3-2A00-20C6-CE657F7218A5}"/>
          </ac:spMkLst>
        </pc:spChg>
        <pc:spChg chg="mod">
          <ac:chgData name="Brown, Peter" userId="34fe0430-42e1-4120-9d39-668328cfa1f0" providerId="ADAL" clId="{09C399C2-2323-4A27-89B9-EC377E2969F4}" dt="2023-05-23T14:34:38.039" v="1465" actId="20577"/>
          <ac:spMkLst>
            <pc:docMk/>
            <pc:sldMk cId="2901568145" sldId="2144868134"/>
            <ac:spMk id="4" creationId="{A0E802F8-B492-AF4F-48EB-63EE3808D4F1}"/>
          </ac:spMkLst>
        </pc:spChg>
        <pc:spChg chg="add mod">
          <ac:chgData name="Brown, Peter" userId="34fe0430-42e1-4120-9d39-668328cfa1f0" providerId="ADAL" clId="{09C399C2-2323-4A27-89B9-EC377E2969F4}" dt="2023-05-25T14:15:53.267" v="5105" actId="20577"/>
          <ac:spMkLst>
            <pc:docMk/>
            <pc:sldMk cId="2901568145" sldId="2144868134"/>
            <ac:spMk id="5" creationId="{65C2B2D9-BBAB-65F0-261D-DF1BB4A15368}"/>
          </ac:spMkLst>
        </pc:spChg>
      </pc:sldChg>
      <pc:sldChg chg="new del">
        <pc:chgData name="Brown, Peter" userId="34fe0430-42e1-4120-9d39-668328cfa1f0" providerId="ADAL" clId="{09C399C2-2323-4A27-89B9-EC377E2969F4}" dt="2023-05-25T13:58:46.483" v="4522" actId="47"/>
        <pc:sldMkLst>
          <pc:docMk/>
          <pc:sldMk cId="1668266781" sldId="2144868135"/>
        </pc:sldMkLst>
      </pc:sldChg>
      <pc:sldChg chg="modSp new mod">
        <pc:chgData name="Brown, Peter" userId="34fe0430-42e1-4120-9d39-668328cfa1f0" providerId="ADAL" clId="{09C399C2-2323-4A27-89B9-EC377E2969F4}" dt="2023-05-25T11:52:51.457" v="3718" actId="20577"/>
        <pc:sldMkLst>
          <pc:docMk/>
          <pc:sldMk cId="1934184225" sldId="2144868136"/>
        </pc:sldMkLst>
        <pc:spChg chg="mod">
          <ac:chgData name="Brown, Peter" userId="34fe0430-42e1-4120-9d39-668328cfa1f0" providerId="ADAL" clId="{09C399C2-2323-4A27-89B9-EC377E2969F4}" dt="2023-05-25T11:52:51.457" v="3718" actId="20577"/>
          <ac:spMkLst>
            <pc:docMk/>
            <pc:sldMk cId="1934184225" sldId="2144868136"/>
            <ac:spMk id="3" creationId="{8C49F7CD-9D54-6632-942A-93FDB9D4B42D}"/>
          </ac:spMkLst>
        </pc:spChg>
        <pc:spChg chg="mod">
          <ac:chgData name="Brown, Peter" userId="34fe0430-42e1-4120-9d39-668328cfa1f0" providerId="ADAL" clId="{09C399C2-2323-4A27-89B9-EC377E2969F4}" dt="2023-05-23T14:35:00.728" v="1509" actId="20577"/>
          <ac:spMkLst>
            <pc:docMk/>
            <pc:sldMk cId="1934184225" sldId="2144868136"/>
            <ac:spMk id="4" creationId="{A6EA800B-C489-9AC3-3EB9-CBFE5D6F5F16}"/>
          </ac:spMkLst>
        </pc:spChg>
      </pc:sldChg>
      <pc:sldChg chg="modSp new mod">
        <pc:chgData name="Brown, Peter" userId="34fe0430-42e1-4120-9d39-668328cfa1f0" providerId="ADAL" clId="{09C399C2-2323-4A27-89B9-EC377E2969F4}" dt="2023-05-25T14:14:37.770" v="5095" actId="20577"/>
        <pc:sldMkLst>
          <pc:docMk/>
          <pc:sldMk cId="697080467" sldId="2144868137"/>
        </pc:sldMkLst>
        <pc:spChg chg="mod">
          <ac:chgData name="Brown, Peter" userId="34fe0430-42e1-4120-9d39-668328cfa1f0" providerId="ADAL" clId="{09C399C2-2323-4A27-89B9-EC377E2969F4}" dt="2023-05-25T14:14:37.770" v="5095" actId="20577"/>
          <ac:spMkLst>
            <pc:docMk/>
            <pc:sldMk cId="697080467" sldId="2144868137"/>
            <ac:spMk id="3" creationId="{9C6701D6-7D70-B856-51B4-0C0E785AF09C}"/>
          </ac:spMkLst>
        </pc:spChg>
        <pc:spChg chg="mod">
          <ac:chgData name="Brown, Peter" userId="34fe0430-42e1-4120-9d39-668328cfa1f0" providerId="ADAL" clId="{09C399C2-2323-4A27-89B9-EC377E2969F4}" dt="2023-05-25T11:52:01.051" v="3643" actId="20577"/>
          <ac:spMkLst>
            <pc:docMk/>
            <pc:sldMk cId="697080467" sldId="2144868137"/>
            <ac:spMk id="4" creationId="{BF283E47-4CC2-324B-17D3-B99A3E512DBB}"/>
          </ac:spMkLst>
        </pc:spChg>
      </pc:sldChg>
      <pc:sldChg chg="modSp new mod ord">
        <pc:chgData name="Brown, Peter" userId="34fe0430-42e1-4120-9d39-668328cfa1f0" providerId="ADAL" clId="{09C399C2-2323-4A27-89B9-EC377E2969F4}" dt="2023-05-25T11:53:33.556" v="3733" actId="20577"/>
        <pc:sldMkLst>
          <pc:docMk/>
          <pc:sldMk cId="1080900958" sldId="2144868138"/>
        </pc:sldMkLst>
        <pc:spChg chg="mod">
          <ac:chgData name="Brown, Peter" userId="34fe0430-42e1-4120-9d39-668328cfa1f0" providerId="ADAL" clId="{09C399C2-2323-4A27-89B9-EC377E2969F4}" dt="2023-05-25T11:53:33.556" v="3733" actId="20577"/>
          <ac:spMkLst>
            <pc:docMk/>
            <pc:sldMk cId="1080900958" sldId="2144868138"/>
            <ac:spMk id="3" creationId="{EDEF3F63-719B-4C3D-3BA6-1A74F0884A31}"/>
          </ac:spMkLst>
        </pc:spChg>
        <pc:spChg chg="mod">
          <ac:chgData name="Brown, Peter" userId="34fe0430-42e1-4120-9d39-668328cfa1f0" providerId="ADAL" clId="{09C399C2-2323-4A27-89B9-EC377E2969F4}" dt="2023-05-23T14:40:10.378" v="1839" actId="20577"/>
          <ac:spMkLst>
            <pc:docMk/>
            <pc:sldMk cId="1080900958" sldId="2144868138"/>
            <ac:spMk id="4" creationId="{C5FD6B64-0428-8A0C-D7EC-AC4023CC9B1F}"/>
          </ac:spMkLst>
        </pc:spChg>
      </pc:sldChg>
      <pc:sldChg chg="modSp new mod">
        <pc:chgData name="Brown, Peter" userId="34fe0430-42e1-4120-9d39-668328cfa1f0" providerId="ADAL" clId="{09C399C2-2323-4A27-89B9-EC377E2969F4}" dt="2023-05-25T11:45:53.184" v="3613" actId="20577"/>
        <pc:sldMkLst>
          <pc:docMk/>
          <pc:sldMk cId="2650356542" sldId="2144868139"/>
        </pc:sldMkLst>
        <pc:spChg chg="mod">
          <ac:chgData name="Brown, Peter" userId="34fe0430-42e1-4120-9d39-668328cfa1f0" providerId="ADAL" clId="{09C399C2-2323-4A27-89B9-EC377E2969F4}" dt="2023-05-25T11:45:53.184" v="3613" actId="20577"/>
          <ac:spMkLst>
            <pc:docMk/>
            <pc:sldMk cId="2650356542" sldId="2144868139"/>
            <ac:spMk id="3" creationId="{3208DDEE-9A10-5758-8F09-3EE95869826A}"/>
          </ac:spMkLst>
        </pc:spChg>
        <pc:spChg chg="mod">
          <ac:chgData name="Brown, Peter" userId="34fe0430-42e1-4120-9d39-668328cfa1f0" providerId="ADAL" clId="{09C399C2-2323-4A27-89B9-EC377E2969F4}" dt="2023-05-25T11:21:17.141" v="3155"/>
          <ac:spMkLst>
            <pc:docMk/>
            <pc:sldMk cId="2650356542" sldId="2144868139"/>
            <ac:spMk id="4" creationId="{892530DB-5BB4-E313-C228-821C448717CE}"/>
          </ac:spMkLst>
        </pc:spChg>
      </pc:sldChg>
      <pc:sldChg chg="new del">
        <pc:chgData name="Brown, Peter" userId="34fe0430-42e1-4120-9d39-668328cfa1f0" providerId="ADAL" clId="{09C399C2-2323-4A27-89B9-EC377E2969F4}" dt="2023-05-25T10:46:55.733" v="2969" actId="47"/>
        <pc:sldMkLst>
          <pc:docMk/>
          <pc:sldMk cId="3677558828" sldId="2144868139"/>
        </pc:sldMkLst>
      </pc:sldChg>
      <pc:sldChg chg="delSp add mod modShow">
        <pc:chgData name="Brown, Peter" userId="34fe0430-42e1-4120-9d39-668328cfa1f0" providerId="ADAL" clId="{09C399C2-2323-4A27-89B9-EC377E2969F4}" dt="2023-05-25T14:18:49.753" v="5109" actId="478"/>
        <pc:sldMkLst>
          <pc:docMk/>
          <pc:sldMk cId="549927365" sldId="2147468738"/>
        </pc:sldMkLst>
        <pc:spChg chg="del">
          <ac:chgData name="Brown, Peter" userId="34fe0430-42e1-4120-9d39-668328cfa1f0" providerId="ADAL" clId="{09C399C2-2323-4A27-89B9-EC377E2969F4}" dt="2023-05-25T14:18:49.753" v="5109" actId="478"/>
          <ac:spMkLst>
            <pc:docMk/>
            <pc:sldMk cId="549927365" sldId="2147468738"/>
            <ac:spMk id="2" creationId="{AFE1EC62-EB4A-2CB6-EACD-172EF0B2E3DD}"/>
          </ac:spMkLst>
        </pc:spChg>
      </pc:sldChg>
    </pc:docChg>
  </pc:docChgLst>
  <pc:docChgLst>
    <pc:chgData name="Brown, Peter" userId="34fe0430-42e1-4120-9d39-668328cfa1f0" providerId="ADAL" clId="{647080B9-EB10-48BC-96AF-0CAB891E8ACF}"/>
    <pc:docChg chg="undo custSel delSld modSld modMainMaster">
      <pc:chgData name="Brown, Peter" userId="34fe0430-42e1-4120-9d39-668328cfa1f0" providerId="ADAL" clId="{647080B9-EB10-48BC-96AF-0CAB891E8ACF}" dt="2023-06-14T08:08:04.922" v="3589" actId="20577"/>
      <pc:docMkLst>
        <pc:docMk/>
      </pc:docMkLst>
      <pc:sldChg chg="modNotesTx">
        <pc:chgData name="Brown, Peter" userId="34fe0430-42e1-4120-9d39-668328cfa1f0" providerId="ADAL" clId="{647080B9-EB10-48BC-96AF-0CAB891E8ACF}" dt="2023-06-13T14:29:15.268" v="3254" actId="20577"/>
        <pc:sldMkLst>
          <pc:docMk/>
          <pc:sldMk cId="3968081389" sldId="2952"/>
        </pc:sldMkLst>
      </pc:sldChg>
      <pc:sldChg chg="modNotesTx">
        <pc:chgData name="Brown, Peter" userId="34fe0430-42e1-4120-9d39-668328cfa1f0" providerId="ADAL" clId="{647080B9-EB10-48BC-96AF-0CAB891E8ACF}" dt="2023-06-09T10:58:12.058" v="813" actId="20577"/>
        <pc:sldMkLst>
          <pc:docMk/>
          <pc:sldMk cId="3504486598" sldId="2144868045"/>
        </pc:sldMkLst>
      </pc:sldChg>
      <pc:sldChg chg="modNotesTx">
        <pc:chgData name="Brown, Peter" userId="34fe0430-42e1-4120-9d39-668328cfa1f0" providerId="ADAL" clId="{647080B9-EB10-48BC-96AF-0CAB891E8ACF}" dt="2023-06-09T11:02:20.967" v="885" actId="20577"/>
        <pc:sldMkLst>
          <pc:docMk/>
          <pc:sldMk cId="544938540" sldId="2144868075"/>
        </pc:sldMkLst>
      </pc:sldChg>
      <pc:sldChg chg="modNotesTx">
        <pc:chgData name="Brown, Peter" userId="34fe0430-42e1-4120-9d39-668328cfa1f0" providerId="ADAL" clId="{647080B9-EB10-48BC-96AF-0CAB891E8ACF}" dt="2023-06-13T13:55:33.146" v="2189" actId="20577"/>
        <pc:sldMkLst>
          <pc:docMk/>
          <pc:sldMk cId="2126679556" sldId="2144868115"/>
        </pc:sldMkLst>
      </pc:sldChg>
      <pc:sldChg chg="delSp modSp mod delAnim modNotesTx">
        <pc:chgData name="Brown, Peter" userId="34fe0430-42e1-4120-9d39-668328cfa1f0" providerId="ADAL" clId="{647080B9-EB10-48BC-96AF-0CAB891E8ACF}" dt="2023-06-09T11:01:41.422" v="820" actId="478"/>
        <pc:sldMkLst>
          <pc:docMk/>
          <pc:sldMk cId="304799000" sldId="2144868125"/>
        </pc:sldMkLst>
        <pc:spChg chg="del topLvl">
          <ac:chgData name="Brown, Peter" userId="34fe0430-42e1-4120-9d39-668328cfa1f0" providerId="ADAL" clId="{647080B9-EB10-48BC-96AF-0CAB891E8ACF}" dt="2023-06-09T11:01:41.422" v="820" actId="478"/>
          <ac:spMkLst>
            <pc:docMk/>
            <pc:sldMk cId="304799000" sldId="2144868125"/>
            <ac:spMk id="23" creationId="{A46239FE-4362-2AF6-91A4-B1A8961D0925}"/>
          </ac:spMkLst>
        </pc:spChg>
        <pc:spChg chg="del mod topLvl">
          <ac:chgData name="Brown, Peter" userId="34fe0430-42e1-4120-9d39-668328cfa1f0" providerId="ADAL" clId="{647080B9-EB10-48BC-96AF-0CAB891E8ACF}" dt="2023-06-09T11:01:39.275" v="819" actId="478"/>
          <ac:spMkLst>
            <pc:docMk/>
            <pc:sldMk cId="304799000" sldId="2144868125"/>
            <ac:spMk id="24" creationId="{73DB8D2A-0898-610F-CF16-27F7922E1674}"/>
          </ac:spMkLst>
        </pc:spChg>
        <pc:grpChg chg="del">
          <ac:chgData name="Brown, Peter" userId="34fe0430-42e1-4120-9d39-668328cfa1f0" providerId="ADAL" clId="{647080B9-EB10-48BC-96AF-0CAB891E8ACF}" dt="2023-06-09T11:01:39.275" v="819" actId="478"/>
          <ac:grpSpMkLst>
            <pc:docMk/>
            <pc:sldMk cId="304799000" sldId="2144868125"/>
            <ac:grpSpMk id="22" creationId="{64E2F0D8-A384-9289-B820-452E34B4E0E5}"/>
          </ac:grpSpMkLst>
        </pc:grpChg>
      </pc:sldChg>
      <pc:sldChg chg="modNotesTx">
        <pc:chgData name="Brown, Peter" userId="34fe0430-42e1-4120-9d39-668328cfa1f0" providerId="ADAL" clId="{647080B9-EB10-48BC-96AF-0CAB891E8ACF}" dt="2023-06-14T08:08:04.922" v="3589" actId="20577"/>
        <pc:sldMkLst>
          <pc:docMk/>
          <pc:sldMk cId="1782099035" sldId="2144868130"/>
        </pc:sldMkLst>
      </pc:sldChg>
      <pc:sldChg chg="modNotesTx">
        <pc:chgData name="Brown, Peter" userId="34fe0430-42e1-4120-9d39-668328cfa1f0" providerId="ADAL" clId="{647080B9-EB10-48BC-96AF-0CAB891E8ACF}" dt="2023-06-09T11:04:08.845" v="1027" actId="20577"/>
        <pc:sldMkLst>
          <pc:docMk/>
          <pc:sldMk cId="397668530" sldId="2144868131"/>
        </pc:sldMkLst>
      </pc:sldChg>
      <pc:sldChg chg="modNotesTx">
        <pc:chgData name="Brown, Peter" userId="34fe0430-42e1-4120-9d39-668328cfa1f0" providerId="ADAL" clId="{647080B9-EB10-48BC-96AF-0CAB891E8ACF}" dt="2023-06-13T14:17:26.942" v="2548" actId="20577"/>
        <pc:sldMkLst>
          <pc:docMk/>
          <pc:sldMk cId="3915684585" sldId="2144868132"/>
        </pc:sldMkLst>
      </pc:sldChg>
      <pc:sldChg chg="modNotesTx">
        <pc:chgData name="Brown, Peter" userId="34fe0430-42e1-4120-9d39-668328cfa1f0" providerId="ADAL" clId="{647080B9-EB10-48BC-96AF-0CAB891E8ACF}" dt="2023-06-14T08:07:35.392" v="3573" actId="313"/>
        <pc:sldMkLst>
          <pc:docMk/>
          <pc:sldMk cId="413409658" sldId="2144868133"/>
        </pc:sldMkLst>
      </pc:sldChg>
      <pc:sldChg chg="modSp mod modNotesTx">
        <pc:chgData name="Brown, Peter" userId="34fe0430-42e1-4120-9d39-668328cfa1f0" providerId="ADAL" clId="{647080B9-EB10-48BC-96AF-0CAB891E8ACF}" dt="2023-06-13T13:58:28.346" v="2249" actId="20577"/>
        <pc:sldMkLst>
          <pc:docMk/>
          <pc:sldMk cId="2901568145" sldId="2144868134"/>
        </pc:sldMkLst>
        <pc:spChg chg="mod">
          <ac:chgData name="Brown, Peter" userId="34fe0430-42e1-4120-9d39-668328cfa1f0" providerId="ADAL" clId="{647080B9-EB10-48BC-96AF-0CAB891E8ACF}" dt="2023-06-09T10:59:12.393" v="817" actId="20577"/>
          <ac:spMkLst>
            <pc:docMk/>
            <pc:sldMk cId="2901568145" sldId="2144868134"/>
            <ac:spMk id="4" creationId="{A0E802F8-B492-AF4F-48EB-63EE3808D4F1}"/>
          </ac:spMkLst>
        </pc:spChg>
      </pc:sldChg>
      <pc:sldChg chg="modSp del mod">
        <pc:chgData name="Brown, Peter" userId="34fe0430-42e1-4120-9d39-668328cfa1f0" providerId="ADAL" clId="{647080B9-EB10-48BC-96AF-0CAB891E8ACF}" dt="2023-06-13T13:59:18.791" v="2250" actId="2696"/>
        <pc:sldMkLst>
          <pc:docMk/>
          <pc:sldMk cId="1934184225" sldId="2144868136"/>
        </pc:sldMkLst>
        <pc:spChg chg="mod">
          <ac:chgData name="Brown, Peter" userId="34fe0430-42e1-4120-9d39-668328cfa1f0" providerId="ADAL" clId="{647080B9-EB10-48BC-96AF-0CAB891E8ACF}" dt="2023-06-09T11:05:17.151" v="1054" actId="20577"/>
          <ac:spMkLst>
            <pc:docMk/>
            <pc:sldMk cId="1934184225" sldId="2144868136"/>
            <ac:spMk id="3" creationId="{8C49F7CD-9D54-6632-942A-93FDB9D4B42D}"/>
          </ac:spMkLst>
        </pc:spChg>
      </pc:sldChg>
      <pc:sldChg chg="modSp mod modNotesTx">
        <pc:chgData name="Brown, Peter" userId="34fe0430-42e1-4120-9d39-668328cfa1f0" providerId="ADAL" clId="{647080B9-EB10-48BC-96AF-0CAB891E8ACF}" dt="2023-06-13T14:32:11.362" v="3337" actId="20577"/>
        <pc:sldMkLst>
          <pc:docMk/>
          <pc:sldMk cId="697080467" sldId="2144868137"/>
        </pc:sldMkLst>
        <pc:spChg chg="mod">
          <ac:chgData name="Brown, Peter" userId="34fe0430-42e1-4120-9d39-668328cfa1f0" providerId="ADAL" clId="{647080B9-EB10-48BC-96AF-0CAB891E8ACF}" dt="2023-06-13T14:24:21.970" v="2956" actId="207"/>
          <ac:spMkLst>
            <pc:docMk/>
            <pc:sldMk cId="697080467" sldId="2144868137"/>
            <ac:spMk id="3" creationId="{9C6701D6-7D70-B856-51B4-0C0E785AF09C}"/>
          </ac:spMkLst>
        </pc:spChg>
      </pc:sldChg>
      <pc:sldChg chg="modSp mod modNotesTx">
        <pc:chgData name="Brown, Peter" userId="34fe0430-42e1-4120-9d39-668328cfa1f0" providerId="ADAL" clId="{647080B9-EB10-48BC-96AF-0CAB891E8ACF}" dt="2023-06-13T14:02:57.224" v="2386" actId="20577"/>
        <pc:sldMkLst>
          <pc:docMk/>
          <pc:sldMk cId="1080900958" sldId="2144868138"/>
        </pc:sldMkLst>
        <pc:spChg chg="mod">
          <ac:chgData name="Brown, Peter" userId="34fe0430-42e1-4120-9d39-668328cfa1f0" providerId="ADAL" clId="{647080B9-EB10-48BC-96AF-0CAB891E8ACF}" dt="2023-06-13T14:01:54.109" v="2377" actId="20577"/>
          <ac:spMkLst>
            <pc:docMk/>
            <pc:sldMk cId="1080900958" sldId="2144868138"/>
            <ac:spMk id="3" creationId="{EDEF3F63-719B-4C3D-3BA6-1A74F0884A31}"/>
          </ac:spMkLst>
        </pc:spChg>
      </pc:sldChg>
      <pc:sldChg chg="modSp mod modNotesTx">
        <pc:chgData name="Brown, Peter" userId="34fe0430-42e1-4120-9d39-668328cfa1f0" providerId="ADAL" clId="{647080B9-EB10-48BC-96AF-0CAB891E8ACF}" dt="2023-06-13T14:29:40.882" v="3255" actId="13926"/>
        <pc:sldMkLst>
          <pc:docMk/>
          <pc:sldMk cId="2650356542" sldId="2144868139"/>
        </pc:sldMkLst>
        <pc:spChg chg="mod">
          <ac:chgData name="Brown, Peter" userId="34fe0430-42e1-4120-9d39-668328cfa1f0" providerId="ADAL" clId="{647080B9-EB10-48BC-96AF-0CAB891E8ACF}" dt="2023-06-13T14:29:40.882" v="3255" actId="13926"/>
          <ac:spMkLst>
            <pc:docMk/>
            <pc:sldMk cId="2650356542" sldId="2144868139"/>
            <ac:spMk id="3" creationId="{3208DDEE-9A10-5758-8F09-3EE95869826A}"/>
          </ac:spMkLst>
        </pc:spChg>
      </pc:sldChg>
      <pc:sldChg chg="modNotesTx">
        <pc:chgData name="Brown, Peter" userId="34fe0430-42e1-4120-9d39-668328cfa1f0" providerId="ADAL" clId="{647080B9-EB10-48BC-96AF-0CAB891E8ACF}" dt="2023-06-13T14:28:00.077" v="3139" actId="20577"/>
        <pc:sldMkLst>
          <pc:docMk/>
          <pc:sldMk cId="549927365" sldId="2147468738"/>
        </pc:sldMkLst>
      </pc:sldChg>
      <pc:sldMasterChg chg="delSldLayout modSldLayout">
        <pc:chgData name="Brown, Peter" userId="34fe0430-42e1-4120-9d39-668328cfa1f0" providerId="ADAL" clId="{647080B9-EB10-48BC-96AF-0CAB891E8ACF}" dt="2023-06-09T11:36:18.206" v="1879"/>
        <pc:sldMasterMkLst>
          <pc:docMk/>
          <pc:sldMasterMk cId="1207204398" sldId="2147483660"/>
        </pc:sldMasterMkLst>
        <pc:sldLayoutChg chg="del">
          <pc:chgData name="Brown, Peter" userId="34fe0430-42e1-4120-9d39-668328cfa1f0" providerId="ADAL" clId="{647080B9-EB10-48BC-96AF-0CAB891E8ACF}" dt="2023-06-09T11:35:04.448" v="1876" actId="2696"/>
          <pc:sldLayoutMkLst>
            <pc:docMk/>
            <pc:sldMasterMk cId="1207204398" sldId="2147483660"/>
            <pc:sldLayoutMk cId="2478148666" sldId="2147483698"/>
          </pc:sldLayoutMkLst>
        </pc:sldLayoutChg>
        <pc:sldLayoutChg chg="del">
          <pc:chgData name="Brown, Peter" userId="34fe0430-42e1-4120-9d39-668328cfa1f0" providerId="ADAL" clId="{647080B9-EB10-48BC-96AF-0CAB891E8ACF}" dt="2023-06-09T11:35:06.470" v="1877" actId="2696"/>
          <pc:sldLayoutMkLst>
            <pc:docMk/>
            <pc:sldMasterMk cId="1207204398" sldId="2147483660"/>
            <pc:sldLayoutMk cId="3651485657" sldId="2147483699"/>
          </pc:sldLayoutMkLst>
        </pc:sldLayoutChg>
        <pc:sldLayoutChg chg="del">
          <pc:chgData name="Brown, Peter" userId="34fe0430-42e1-4120-9d39-668328cfa1f0" providerId="ADAL" clId="{647080B9-EB10-48BC-96AF-0CAB891E8ACF}" dt="2023-06-09T11:32:03.815" v="1871" actId="2696"/>
          <pc:sldLayoutMkLst>
            <pc:docMk/>
            <pc:sldMasterMk cId="1207204398" sldId="2147483660"/>
            <pc:sldLayoutMk cId="140947039" sldId="2147483736"/>
          </pc:sldLayoutMkLst>
        </pc:sldLayoutChg>
        <pc:sldLayoutChg chg="del">
          <pc:chgData name="Brown, Peter" userId="34fe0430-42e1-4120-9d39-668328cfa1f0" providerId="ADAL" clId="{647080B9-EB10-48BC-96AF-0CAB891E8ACF}" dt="2023-06-09T11:32:10.130" v="1873" actId="2696"/>
          <pc:sldLayoutMkLst>
            <pc:docMk/>
            <pc:sldMasterMk cId="1207204398" sldId="2147483660"/>
            <pc:sldLayoutMk cId="232528057" sldId="2147483750"/>
          </pc:sldLayoutMkLst>
        </pc:sldLayoutChg>
        <pc:sldLayoutChg chg="del">
          <pc:chgData name="Brown, Peter" userId="34fe0430-42e1-4120-9d39-668328cfa1f0" providerId="ADAL" clId="{647080B9-EB10-48BC-96AF-0CAB891E8ACF}" dt="2023-06-09T11:32:07.935" v="1872" actId="2696"/>
          <pc:sldLayoutMkLst>
            <pc:docMk/>
            <pc:sldMasterMk cId="1207204398" sldId="2147483660"/>
            <pc:sldLayoutMk cId="3891130594" sldId="2147483751"/>
          </pc:sldLayoutMkLst>
        </pc:sldLayoutChg>
        <pc:sldLayoutChg chg="del">
          <pc:chgData name="Brown, Peter" userId="34fe0430-42e1-4120-9d39-668328cfa1f0" providerId="ADAL" clId="{647080B9-EB10-48BC-96AF-0CAB891E8ACF}" dt="2023-06-09T11:32:12.945" v="1874" actId="2696"/>
          <pc:sldLayoutMkLst>
            <pc:docMk/>
            <pc:sldMasterMk cId="1207204398" sldId="2147483660"/>
            <pc:sldLayoutMk cId="1819119339" sldId="2147483752"/>
          </pc:sldLayoutMkLst>
        </pc:sldLayoutChg>
        <pc:sldLayoutChg chg="del">
          <pc:chgData name="Brown, Peter" userId="34fe0430-42e1-4120-9d39-668328cfa1f0" providerId="ADAL" clId="{647080B9-EB10-48BC-96AF-0CAB891E8ACF}" dt="2023-06-09T11:32:50.087" v="1875" actId="2696"/>
          <pc:sldLayoutMkLst>
            <pc:docMk/>
            <pc:sldMasterMk cId="1207204398" sldId="2147483660"/>
            <pc:sldLayoutMk cId="404336792" sldId="2147483754"/>
          </pc:sldLayoutMkLst>
        </pc:sldLayoutChg>
        <pc:sldLayoutChg chg="modSp">
          <pc:chgData name="Brown, Peter" userId="34fe0430-42e1-4120-9d39-668328cfa1f0" providerId="ADAL" clId="{647080B9-EB10-48BC-96AF-0CAB891E8ACF}" dt="2023-06-09T11:36:18.206" v="1879"/>
          <pc:sldLayoutMkLst>
            <pc:docMk/>
            <pc:sldMasterMk cId="1207204398" sldId="2147483660"/>
            <pc:sldLayoutMk cId="3279303759" sldId="2147483757"/>
          </pc:sldLayoutMkLst>
          <pc:spChg chg="mod">
            <ac:chgData name="Brown, Peter" userId="34fe0430-42e1-4120-9d39-668328cfa1f0" providerId="ADAL" clId="{647080B9-EB10-48BC-96AF-0CAB891E8ACF}" dt="2023-06-09T11:36:18.206" v="1879"/>
            <ac:spMkLst>
              <pc:docMk/>
              <pc:sldMasterMk cId="1207204398" sldId="2147483660"/>
              <pc:sldLayoutMk cId="3279303759" sldId="2147483757"/>
              <ac:spMk id="8" creationId="{D52C6691-2975-4648-B0DD-73B33D6909E8}"/>
            </ac:spMkLst>
          </pc:spChg>
        </pc:sldLayoutChg>
        <pc:sldLayoutChg chg="del">
          <pc:chgData name="Brown, Peter" userId="34fe0430-42e1-4120-9d39-668328cfa1f0" providerId="ADAL" clId="{647080B9-EB10-48BC-96AF-0CAB891E8ACF}" dt="2023-06-09T11:32:00.250" v="1870" actId="2696"/>
          <pc:sldLayoutMkLst>
            <pc:docMk/>
            <pc:sldMasterMk cId="1207204398" sldId="2147483660"/>
            <pc:sldLayoutMk cId="2177774204" sldId="2147483758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335892-7AC0-13D7-F0FD-795AFD4AC87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8FDADE-057E-14F5-74AC-D1B49AF3DB5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24FF83-A6F2-4AF5-A16C-233EDB5C7F61}" type="datetimeFigureOut">
              <a:rPr lang="en-GB" smtClean="0"/>
              <a:t>19/06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1730A7-2C33-0A07-A44C-057F841BCBF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1338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ECACD9-EFE1-96FB-168D-D411D1B7F20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31338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B74842-C6AA-4D62-9B12-48EAFC130A8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87369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EE9ED-BF58-4109-A131-2A9F54780E91}" type="datetimeFigureOut">
              <a:rPr lang="en-GB" smtClean="0"/>
              <a:t>19/06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8722"/>
            <a:ext cx="543814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51CE7C-4CF0-42C0-88A2-FA67CE4091F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80817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machinerysafety101.com/2023/05/01/do-not-use-iso-13849-1-2023/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Quick update (as standards are typically pretty wordy documents!) on international standards for Functional Safety (</a:t>
            </a:r>
            <a:r>
              <a:rPr lang="en-GB" dirty="0" err="1"/>
              <a:t>PROFIsafe</a:t>
            </a:r>
            <a:r>
              <a:rPr lang="en-GB" dirty="0"/>
              <a:t>) and Cyber Security (significant factor for network design).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51CE7C-4CF0-42C0-88A2-FA67CE4091F7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22501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re is no safety without security, and a secure but unsafe system is valueless!</a:t>
            </a:r>
          </a:p>
          <a:p>
            <a:endParaRPr lang="en-GB" dirty="0"/>
          </a:p>
          <a:p>
            <a:r>
              <a:rPr lang="en-GB" dirty="0"/>
              <a:t>Notice that some times here I am discussing “security” not “cyber security”.</a:t>
            </a:r>
          </a:p>
          <a:p>
            <a:endParaRPr lang="en-GB" dirty="0"/>
          </a:p>
          <a:p>
            <a:r>
              <a:rPr lang="en-GB" dirty="0"/>
              <a:t>Whitepaper in 2019, “short term incremental improvements”, “integrity and authenticity” (cryptographic functions) and “confidentiality” (rare).</a:t>
            </a:r>
          </a:p>
          <a:p>
            <a:endParaRPr lang="en-GB" dirty="0"/>
          </a:p>
          <a:p>
            <a:r>
              <a:rPr lang="en-GB" dirty="0"/>
              <a:t>Guideline available for Security Class 1 (2022)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51CE7C-4CF0-42C0-88A2-FA67CE4091F7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06747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agement System / System Integrators / RA (not safety) / FRs (Foundational), SRs (System) &amp; SLs / How to develop a secure product / Developing a product.</a:t>
            </a:r>
          </a:p>
          <a:p>
            <a:endParaRPr lang="en-GB" dirty="0"/>
          </a:p>
          <a:p>
            <a:r>
              <a:rPr lang="en-GB" dirty="0"/>
              <a:t>Most of the other stability dates are for 2024 (-2-4 is 2023)!</a:t>
            </a:r>
          </a:p>
          <a:p>
            <a:endParaRPr lang="en-GB" dirty="0"/>
          </a:p>
          <a:p>
            <a:r>
              <a:rPr lang="en-GB" dirty="0"/>
              <a:t>Other general guidance / approaches / options are available e.g. NIST, NCSC, ISO / IEC 27xxx, ETSI 303 645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51CE7C-4CF0-42C0-88A2-FA67CE4091F7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90212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 plenty more work and updates ongoing and to be done! Big complex series of standards?</a:t>
            </a:r>
          </a:p>
          <a:p>
            <a:endParaRPr lang="en-GB" dirty="0"/>
          </a:p>
          <a:p>
            <a:r>
              <a:rPr lang="en-GB" dirty="0"/>
              <a:t>TFDIS = Translation of Final Draft International Standard.</a:t>
            </a:r>
          </a:p>
          <a:p>
            <a:endParaRPr lang="en-GB" dirty="0"/>
          </a:p>
          <a:p>
            <a:r>
              <a:rPr lang="en-GB" dirty="0"/>
              <a:t>TDTS = Translation of Draft Technical Specification.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51CE7C-4CF0-42C0-88A2-FA67CE4091F7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5532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or Industrial Automation / Control Systems, the HSE OG-0086 (edition 2) is the most useful (guidance for inspectors).</a:t>
            </a:r>
          </a:p>
          <a:p>
            <a:endParaRPr lang="en-GB" dirty="0"/>
          </a:p>
          <a:p>
            <a:r>
              <a:rPr lang="en-GB" dirty="0"/>
              <a:t>For this topic, is guidance more important / useful than standards?</a:t>
            </a:r>
          </a:p>
          <a:p>
            <a:endParaRPr lang="en-GB" dirty="0"/>
          </a:p>
          <a:p>
            <a:r>
              <a:rPr lang="en-GB" dirty="0"/>
              <a:t>Lots of organisations are writing guidance (possibly too many)! Starting to be accepted by the some national standards bodies.</a:t>
            </a:r>
          </a:p>
          <a:p>
            <a:endParaRPr lang="en-GB" dirty="0"/>
          </a:p>
          <a:p>
            <a:r>
              <a:rPr lang="en-GB" dirty="0"/>
              <a:t>Legislation for cyber security is growing, it is only going to get more detailed!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51CE7C-4CF0-42C0-88A2-FA67CE4091F7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84203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hy am I here? 260 years, Vessel classification and “advisory services”. Responsible to a charity.</a:t>
            </a:r>
          </a:p>
          <a:p>
            <a:endParaRPr lang="en-GB" dirty="0"/>
          </a:p>
          <a:p>
            <a:r>
              <a:rPr lang="en-GB" dirty="0"/>
              <a:t>Different “rules” (not the same legislation / regulations) but the same challenges and technology. Many industrial solutions used in shipping! But we also cover “offshore”.</a:t>
            </a:r>
          </a:p>
          <a:p>
            <a:endParaRPr lang="en-GB" dirty="0"/>
          </a:p>
          <a:p>
            <a:r>
              <a:rPr lang="en-GB" dirty="0"/>
              <a:t>Ocean economy, decarbonisation fuels, greater use of technology (complexity), autonomy, safety is still key!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51CE7C-4CF0-42C0-88A2-FA67CE4091F7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16018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We improve the safety, reliability and performance of assets, people, systems and processes across the oil and gas industry, helping to solve the most demanding technical, regulatory and commercial challenges.</a:t>
            </a:r>
          </a:p>
          <a:p>
            <a:endParaRPr lang="en-GB" dirty="0"/>
          </a:p>
          <a:p>
            <a:r>
              <a:rPr lang="en-GB" dirty="0"/>
              <a:t>Standards have a place and can be useful, but they don’t replace engineering the assets / systems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C1D27-52A8-476E-9901-128077AD9B3E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14402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hat is “Functional Safety” important for fieldbus / industrial networks.</a:t>
            </a:r>
          </a:p>
          <a:p>
            <a:endParaRPr lang="en-GB" dirty="0"/>
          </a:p>
          <a:p>
            <a:r>
              <a:rPr lang="en-GB" dirty="0"/>
              <a:t>This is why we have </a:t>
            </a:r>
            <a:r>
              <a:rPr lang="en-GB" dirty="0" err="1"/>
              <a:t>PROFIsafe</a:t>
            </a:r>
            <a:r>
              <a:rPr lang="en-GB" dirty="0"/>
              <a:t>!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51CE7C-4CF0-42C0-88A2-FA67CE4091F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4648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lthough </a:t>
            </a:r>
            <a:r>
              <a:rPr lang="en-GB" dirty="0" err="1"/>
              <a:t>PROFIsafe</a:t>
            </a:r>
            <a:r>
              <a:rPr lang="en-GB" dirty="0"/>
              <a:t> gives us defined requirements for the bus / network.</a:t>
            </a:r>
          </a:p>
          <a:p>
            <a:endParaRPr lang="en-GB" dirty="0"/>
          </a:p>
          <a:p>
            <a:r>
              <a:rPr lang="en-GB" dirty="0"/>
              <a:t>Each manufacturer of a subsystem can design / engineer solutions in many ways.</a:t>
            </a:r>
          </a:p>
          <a:p>
            <a:endParaRPr lang="en-GB" dirty="0"/>
          </a:p>
          <a:p>
            <a:r>
              <a:rPr lang="en-GB" dirty="0"/>
              <a:t>So “standards” are important. “International standards” are wider consensus of an approach!</a:t>
            </a:r>
          </a:p>
          <a:p>
            <a:endParaRPr lang="en-GB" dirty="0"/>
          </a:p>
          <a:p>
            <a:r>
              <a:rPr lang="en-GB" dirty="0"/>
              <a:t>Discuss the concept of “consensus”!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51CE7C-4CF0-42C0-88A2-FA67CE4091F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20421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tandards and certification are of benefit, they are not the complete answer but they do help.</a:t>
            </a:r>
          </a:p>
          <a:p>
            <a:endParaRPr lang="en-GB" dirty="0"/>
          </a:p>
          <a:p>
            <a:r>
              <a:rPr lang="en-GB" dirty="0"/>
              <a:t>Standards do need to be kept up to date / state-of-the-art, but are slow to be updated (balance, can’t be too specific).</a:t>
            </a:r>
          </a:p>
          <a:p>
            <a:endParaRPr lang="en-GB" dirty="0"/>
          </a:p>
          <a:p>
            <a:r>
              <a:rPr lang="en-GB" dirty="0"/>
              <a:t>Important “users” of the standards get involved, else just an interpretation from manufacturers, CAB’s, enforcement, etc.</a:t>
            </a:r>
          </a:p>
          <a:p>
            <a:endParaRPr lang="en-GB" dirty="0"/>
          </a:p>
          <a:p>
            <a:r>
              <a:rPr lang="en-GB" dirty="0"/>
              <a:t>Probably like anything, you can have too much of something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51CE7C-4CF0-42C0-88A2-FA67CE4091F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73500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et’s look at some relevant “Functional Safety” standard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51CE7C-4CF0-42C0-88A2-FA67CE4091F7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52878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EC 61508 series is a “Basic Safety Publication” for all except “low complexity” safety-related systems!</a:t>
            </a:r>
          </a:p>
          <a:p>
            <a:endParaRPr lang="en-GB" dirty="0"/>
          </a:p>
          <a:p>
            <a:r>
              <a:rPr lang="en-GB" dirty="0"/>
              <a:t>BSI may need help with these standards (GEL/65/3 – Industrial Networks). Also mention IEC 61784 (series, ind. comm. networks) and IEC 61158 (series, </a:t>
            </a:r>
            <a:r>
              <a:rPr lang="en-GB"/>
              <a:t>ICN fieldbus).</a:t>
            </a:r>
            <a:endParaRPr lang="en-GB" dirty="0"/>
          </a:p>
          <a:p>
            <a:endParaRPr lang="en-GB" dirty="0"/>
          </a:p>
          <a:p>
            <a:r>
              <a:rPr lang="en-GB" dirty="0"/>
              <a:t>CDM = Committee Draft to be discussed at meeting. More work required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51CE7C-4CF0-42C0-88A2-FA67CE4091F7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758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CS not SRECS!</a:t>
            </a:r>
          </a:p>
          <a:p>
            <a:endParaRPr lang="en-GB" dirty="0"/>
          </a:p>
          <a:p>
            <a:r>
              <a:rPr lang="en-GB" dirty="0"/>
              <a:t>Does not allow the use of ISO 13849 subsystems using </a:t>
            </a:r>
            <a:r>
              <a:rPr lang="en-GB" dirty="0">
                <a:solidFill>
                  <a:schemeClr val="accent2"/>
                </a:solidFill>
              </a:rPr>
              <a:t>complex components!</a:t>
            </a:r>
          </a:p>
          <a:p>
            <a:endParaRPr lang="en-GB" dirty="0">
              <a:solidFill>
                <a:schemeClr val="accent2"/>
              </a:solidFill>
            </a:endParaRPr>
          </a:p>
          <a:p>
            <a:r>
              <a:rPr lang="en-GB" dirty="0"/>
              <a:t>“SW Level” 1, 2 and 3. Shallow V-model.</a:t>
            </a:r>
          </a:p>
          <a:p>
            <a:endParaRPr lang="en-GB" dirty="0"/>
          </a:p>
          <a:p>
            <a:r>
              <a:rPr lang="en-GB" dirty="0"/>
              <a:t>Some ISO 13849 aspects: Fault exclusions, Fault lists, Basic safety principles, Well-tried safety principles, Well-tried components, Measurement accuracy.</a:t>
            </a:r>
          </a:p>
          <a:p>
            <a:endParaRPr lang="en-GB" dirty="0"/>
          </a:p>
          <a:p>
            <a:r>
              <a:rPr lang="en-GB" dirty="0"/>
              <a:t>Also, in Cl. 7, requirements for functional testing (fault accumulation / undetected faults): For SIL 3, at least every 3 months and for SIL 2, at least every 12 months.</a:t>
            </a:r>
          </a:p>
          <a:p>
            <a:endParaRPr lang="en-GB" dirty="0"/>
          </a:p>
          <a:p>
            <a:r>
              <a:rPr lang="en-GB" dirty="0"/>
              <a:t>Generally a sensible approach to functional safety of machinery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51CE7C-4CF0-42C0-88A2-FA67CE4091F7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21175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ublished at the end of April 2023!</a:t>
            </a:r>
          </a:p>
          <a:p>
            <a:endParaRPr lang="en-GB" dirty="0"/>
          </a:p>
          <a:p>
            <a:r>
              <a:rPr lang="en-GB" dirty="0"/>
              <a:t>Caution for EMI / EMC requirements!</a:t>
            </a:r>
          </a:p>
          <a:p>
            <a:endParaRPr lang="en-GB" dirty="0"/>
          </a:p>
          <a:p>
            <a:r>
              <a:rPr lang="en-GB" dirty="0"/>
              <a:t>DO NOT USE for SRESW!</a:t>
            </a:r>
          </a:p>
          <a:p>
            <a:endParaRPr lang="en-GB" dirty="0"/>
          </a:p>
          <a:p>
            <a:r>
              <a:rPr lang="en-GB" dirty="0">
                <a:hlinkClick r:id="rId3"/>
              </a:rPr>
              <a:t>Do not use ISO 13849-1:2023 | Machinery Safety 101</a:t>
            </a:r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51CE7C-4CF0-42C0-88A2-FA67CE4091F7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93106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51CE7C-4CF0-42C0-88A2-FA67CE4091F7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84251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7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-2 - Intro Slide"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52C6691-2975-4648-B0DD-73B33D6909E8}"/>
              </a:ext>
            </a:extLst>
          </p:cNvPr>
          <p:cNvSpPr>
            <a:spLocks/>
          </p:cNvSpPr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000000">
              <a:alpha val="54878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 dirty="0">
              <a:ln>
                <a:noFill/>
              </a:ln>
              <a:noFill/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cs typeface="Silka Medium"/>
              <a:sym typeface="Silka Medium"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CF2BBA0-E85E-F54D-B104-B28BAFC6AB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411" y="3200333"/>
            <a:ext cx="7078438" cy="1080119"/>
          </a:xfrm>
        </p:spPr>
        <p:txBody>
          <a:bodyPr>
            <a:normAutofit/>
          </a:bodyPr>
          <a:lstStyle>
            <a:lvl1pPr>
              <a:defRPr sz="3200" b="1" i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317500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6E62F9F-8261-814F-9F14-0641C6B36D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8411" y="4425590"/>
            <a:ext cx="7135989" cy="1087314"/>
          </a:xfrm>
        </p:spPr>
        <p:txBody>
          <a:bodyPr>
            <a:normAutofit/>
          </a:bodyPr>
          <a:lstStyle>
            <a:lvl1pPr>
              <a:defRPr sz="1800" b="0" i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317500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591D4F8-A95D-2B46-9127-14D1A6EA0B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35" r="435"/>
          <a:stretch/>
        </p:blipFill>
        <p:spPr>
          <a:xfrm>
            <a:off x="8743263" y="0"/>
            <a:ext cx="2541670" cy="5959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303759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43E77633-408C-8641-A8B3-89A02C9E52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8486" y="2323498"/>
            <a:ext cx="3173604" cy="537917"/>
          </a:xfrm>
        </p:spPr>
        <p:txBody>
          <a:bodyPr lIns="36000" tIns="36000" rIns="36000" bIns="36000">
            <a:noAutofit/>
          </a:bodyPr>
          <a:lstStyle>
            <a:lvl1pPr marL="0" indent="0">
              <a:buFont typeface="Arial" panose="020B0604020202020204" pitchFamily="34" charset="0"/>
              <a:buNone/>
              <a:defRPr sz="2800" b="1" i="0" spc="0" baseline="0">
                <a:solidFill>
                  <a:srgbClr val="253038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 Here</a:t>
            </a:r>
            <a:endParaRPr lang="en-GB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74D6B67A-47ED-D441-B1FC-9469D3BC3C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8480" y="2843429"/>
            <a:ext cx="3173605" cy="437029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800" b="0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title Her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D4D368-9CAF-F943-9706-77254DA90A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7286" y="3543577"/>
            <a:ext cx="3164804" cy="1445373"/>
          </a:xfrm>
        </p:spPr>
        <p:txBody>
          <a:bodyPr>
            <a:noAutofit/>
          </a:bodyPr>
          <a:lstStyle>
            <a:lvl1pPr>
              <a:defRPr sz="12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801CFC-437A-D04A-83DD-5E56E0B355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28480" y="1581544"/>
            <a:ext cx="512922" cy="512922"/>
          </a:xfrm>
        </p:spPr>
        <p:txBody>
          <a:bodyPr>
            <a:normAutofit/>
          </a:bodyPr>
          <a:lstStyle>
            <a:lvl1pPr>
              <a:defRPr sz="900" b="0" i="0">
                <a:latin typeface="Source Sans Pro" panose="020B0503030403020204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F5850C68-ABEF-054D-A777-A5BFDC442B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26819" y="2323498"/>
            <a:ext cx="3173604" cy="537917"/>
          </a:xfrm>
        </p:spPr>
        <p:txBody>
          <a:bodyPr lIns="36000" tIns="36000" rIns="36000" bIns="36000">
            <a:noAutofit/>
          </a:bodyPr>
          <a:lstStyle>
            <a:lvl1pPr marL="0" indent="0">
              <a:buFont typeface="Arial" panose="020B0604020202020204" pitchFamily="34" charset="0"/>
              <a:buNone/>
              <a:defRPr sz="2800" b="1" i="0" spc="0" baseline="0">
                <a:solidFill>
                  <a:srgbClr val="253038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 Here</a:t>
            </a:r>
            <a:endParaRPr lang="en-GB" dirty="0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0B777012-382E-E74C-A2FD-E8D0A0258E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26813" y="2843429"/>
            <a:ext cx="3173605" cy="437029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800" b="0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title Here</a:t>
            </a:r>
            <a:endParaRPr lang="en-GB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62DD855-B122-5442-A29B-878026B617D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135619" y="3543577"/>
            <a:ext cx="3164804" cy="1445373"/>
          </a:xfrm>
        </p:spPr>
        <p:txBody>
          <a:bodyPr>
            <a:noAutofit/>
          </a:bodyPr>
          <a:lstStyle>
            <a:lvl1pPr>
              <a:defRPr sz="12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  <a:p>
            <a:pPr lvl="4"/>
            <a:endParaRPr lang="en-US" dirty="0"/>
          </a:p>
        </p:txBody>
      </p:sp>
      <p:sp>
        <p:nvSpPr>
          <p:cNvPr id="22" name="Picture Placeholder 10">
            <a:extLst>
              <a:ext uri="{FF2B5EF4-FFF2-40B4-BE49-F238E27FC236}">
                <a16:creationId xmlns:a16="http://schemas.microsoft.com/office/drawing/2014/main" id="{B4B0711D-CD4B-9948-9754-DD5731225C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126813" y="1581544"/>
            <a:ext cx="512922" cy="512922"/>
          </a:xfrm>
        </p:spPr>
        <p:txBody>
          <a:bodyPr>
            <a:normAutofit/>
          </a:bodyPr>
          <a:lstStyle>
            <a:lvl1pPr>
              <a:defRPr sz="900" b="0" i="0">
                <a:latin typeface="Source Sans Pro" panose="020B0503030403020204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4A6F2F9B-A11A-9647-9625-C34AD6993FF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733619" y="2323498"/>
            <a:ext cx="3173604" cy="537917"/>
          </a:xfrm>
        </p:spPr>
        <p:txBody>
          <a:bodyPr lIns="36000" tIns="36000" rIns="36000" bIns="36000">
            <a:noAutofit/>
          </a:bodyPr>
          <a:lstStyle>
            <a:lvl1pPr marL="0" indent="0">
              <a:buFont typeface="Arial" panose="020B0604020202020204" pitchFamily="34" charset="0"/>
              <a:buNone/>
              <a:defRPr sz="2800" b="1" i="0" spc="0" baseline="0">
                <a:solidFill>
                  <a:srgbClr val="253038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 Here</a:t>
            </a:r>
            <a:endParaRPr lang="en-GB" dirty="0"/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5E0656D9-B92E-AC41-A153-3B5CB234F10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33613" y="2843429"/>
            <a:ext cx="3173605" cy="437029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800" b="0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title Here</a:t>
            </a:r>
            <a:endParaRPr lang="en-GB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316C2FF3-4EA0-D142-876B-FB517AC850B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7742419" y="3543577"/>
            <a:ext cx="3164804" cy="1445373"/>
          </a:xfrm>
        </p:spPr>
        <p:txBody>
          <a:bodyPr>
            <a:noAutofit/>
          </a:bodyPr>
          <a:lstStyle>
            <a:lvl1pPr>
              <a:defRPr sz="12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  <a:p>
            <a:pPr lvl="4"/>
            <a:endParaRPr lang="en-US" dirty="0"/>
          </a:p>
        </p:txBody>
      </p:sp>
      <p:sp>
        <p:nvSpPr>
          <p:cNvPr id="27" name="Picture Placeholder 10">
            <a:extLst>
              <a:ext uri="{FF2B5EF4-FFF2-40B4-BE49-F238E27FC236}">
                <a16:creationId xmlns:a16="http://schemas.microsoft.com/office/drawing/2014/main" id="{BF282AB9-988A-3245-9093-7FB02B2F086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733613" y="1581544"/>
            <a:ext cx="512922" cy="512922"/>
          </a:xfrm>
        </p:spPr>
        <p:txBody>
          <a:bodyPr>
            <a:normAutofit/>
          </a:bodyPr>
          <a:lstStyle>
            <a:lvl1pPr>
              <a:defRPr sz="900" b="0" i="0">
                <a:latin typeface="Source Sans Pro" panose="020B0503030403020204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6714B1-C374-A84B-9859-B8809ED8E2C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14287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43E77633-408C-8641-A8B3-89A02C9E52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8486" y="2323498"/>
            <a:ext cx="2458265" cy="537917"/>
          </a:xfrm>
        </p:spPr>
        <p:txBody>
          <a:bodyPr lIns="36000" tIns="36000" rIns="36000" bIns="36000">
            <a:noAutofit/>
          </a:bodyPr>
          <a:lstStyle>
            <a:lvl1pPr marL="0" indent="0">
              <a:buFont typeface="Arial" panose="020B0604020202020204" pitchFamily="34" charset="0"/>
              <a:buNone/>
              <a:defRPr sz="2800" b="1" i="0" spc="0" baseline="0">
                <a:solidFill>
                  <a:srgbClr val="253038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 Here</a:t>
            </a:r>
            <a:endParaRPr lang="en-GB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74D6B67A-47ED-D441-B1FC-9469D3BC3C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8481" y="2843429"/>
            <a:ext cx="2458266" cy="437029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800" b="0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title Her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D4D368-9CAF-F943-9706-77254DA90A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7286" y="3543577"/>
            <a:ext cx="2451448" cy="1445373"/>
          </a:xfrm>
        </p:spPr>
        <p:txBody>
          <a:bodyPr>
            <a:noAutofit/>
          </a:bodyPr>
          <a:lstStyle>
            <a:lvl1pPr>
              <a:defRPr sz="12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801CFC-437A-D04A-83DD-5E56E0B355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28480" y="1581544"/>
            <a:ext cx="512922" cy="512922"/>
          </a:xfrm>
        </p:spPr>
        <p:txBody>
          <a:bodyPr>
            <a:normAutofit/>
          </a:bodyPr>
          <a:lstStyle>
            <a:lvl1pPr>
              <a:defRPr sz="900" b="0" i="0">
                <a:latin typeface="Source Sans Pro" panose="020B0503030403020204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AA3CB66D-00E3-D743-A865-943593477E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8620" y="2323498"/>
            <a:ext cx="2458265" cy="537917"/>
          </a:xfrm>
        </p:spPr>
        <p:txBody>
          <a:bodyPr lIns="36000" tIns="36000" rIns="36000" bIns="36000">
            <a:noAutofit/>
          </a:bodyPr>
          <a:lstStyle>
            <a:lvl1pPr marL="0" indent="0">
              <a:buFont typeface="Arial" panose="020B0604020202020204" pitchFamily="34" charset="0"/>
              <a:buNone/>
              <a:defRPr sz="2800" b="1" i="0" spc="0" baseline="0">
                <a:solidFill>
                  <a:srgbClr val="253038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 Here</a:t>
            </a:r>
            <a:endParaRPr lang="en-GB" dirty="0"/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0FE824F8-1540-814E-B1B2-7B0C9FEC706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88615" y="2843429"/>
            <a:ext cx="2458266" cy="437029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800" b="0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title Here</a:t>
            </a:r>
            <a:endParaRPr lang="en-GB" dirty="0"/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46821001-C3C7-7047-A6FA-0D5E9C2CE28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297420" y="3543577"/>
            <a:ext cx="2451448" cy="1445373"/>
          </a:xfrm>
        </p:spPr>
        <p:txBody>
          <a:bodyPr>
            <a:noAutofit/>
          </a:bodyPr>
          <a:lstStyle>
            <a:lvl1pPr>
              <a:defRPr sz="12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</p:txBody>
      </p:sp>
      <p:sp>
        <p:nvSpPr>
          <p:cNvPr id="52" name="Picture Placeholder 10">
            <a:extLst>
              <a:ext uri="{FF2B5EF4-FFF2-40B4-BE49-F238E27FC236}">
                <a16:creationId xmlns:a16="http://schemas.microsoft.com/office/drawing/2014/main" id="{A4AD33FC-CFDD-CF48-9FA6-AA1E845C9F5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288614" y="1581544"/>
            <a:ext cx="512922" cy="512922"/>
          </a:xfrm>
        </p:spPr>
        <p:txBody>
          <a:bodyPr>
            <a:normAutofit/>
          </a:bodyPr>
          <a:lstStyle>
            <a:lvl1pPr>
              <a:defRPr sz="900" b="0" i="0">
                <a:latin typeface="Source Sans Pro" panose="020B0503030403020204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23025BD6-A97F-0147-9FE2-BE234E36B28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48753" y="2323498"/>
            <a:ext cx="2458265" cy="537917"/>
          </a:xfrm>
        </p:spPr>
        <p:txBody>
          <a:bodyPr lIns="36000" tIns="36000" rIns="36000" bIns="36000">
            <a:noAutofit/>
          </a:bodyPr>
          <a:lstStyle>
            <a:lvl1pPr marL="0" indent="0">
              <a:buFont typeface="Arial" panose="020B0604020202020204" pitchFamily="34" charset="0"/>
              <a:buNone/>
              <a:defRPr sz="2800" b="1" i="0" spc="0" baseline="0">
                <a:solidFill>
                  <a:srgbClr val="253038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 Here</a:t>
            </a:r>
            <a:endParaRPr lang="en-GB" dirty="0"/>
          </a:p>
        </p:txBody>
      </p:sp>
      <p:sp>
        <p:nvSpPr>
          <p:cNvPr id="54" name="Text Placeholder 11">
            <a:extLst>
              <a:ext uri="{FF2B5EF4-FFF2-40B4-BE49-F238E27FC236}">
                <a16:creationId xmlns:a16="http://schemas.microsoft.com/office/drawing/2014/main" id="{E0FADF07-4DEC-2F4E-9F43-4B023775964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48748" y="2843429"/>
            <a:ext cx="2458266" cy="437029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800" b="0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title Here</a:t>
            </a:r>
            <a:endParaRPr lang="en-GB" dirty="0"/>
          </a:p>
        </p:txBody>
      </p:sp>
      <p:sp>
        <p:nvSpPr>
          <p:cNvPr id="55" name="Content Placeholder 2">
            <a:extLst>
              <a:ext uri="{FF2B5EF4-FFF2-40B4-BE49-F238E27FC236}">
                <a16:creationId xmlns:a16="http://schemas.microsoft.com/office/drawing/2014/main" id="{FA5C23A2-D20D-9349-8A10-391403A6285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057553" y="3543577"/>
            <a:ext cx="2451448" cy="1445373"/>
          </a:xfrm>
        </p:spPr>
        <p:txBody>
          <a:bodyPr>
            <a:noAutofit/>
          </a:bodyPr>
          <a:lstStyle>
            <a:lvl1pPr>
              <a:defRPr sz="12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</p:txBody>
      </p:sp>
      <p:sp>
        <p:nvSpPr>
          <p:cNvPr id="57" name="Picture Placeholder 10">
            <a:extLst>
              <a:ext uri="{FF2B5EF4-FFF2-40B4-BE49-F238E27FC236}">
                <a16:creationId xmlns:a16="http://schemas.microsoft.com/office/drawing/2014/main" id="{9575E9FF-AA20-D348-A278-CDD31B5D5C08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048747" y="1581544"/>
            <a:ext cx="512922" cy="512922"/>
          </a:xfrm>
        </p:spPr>
        <p:txBody>
          <a:bodyPr>
            <a:normAutofit/>
          </a:bodyPr>
          <a:lstStyle>
            <a:lvl1pPr>
              <a:defRPr sz="900" b="0" i="0">
                <a:latin typeface="Source Sans Pro" panose="020B0503030403020204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8" name="Text Placeholder 11">
            <a:extLst>
              <a:ext uri="{FF2B5EF4-FFF2-40B4-BE49-F238E27FC236}">
                <a16:creationId xmlns:a16="http://schemas.microsoft.com/office/drawing/2014/main" id="{8B9F4A41-C469-064B-BF64-C73AAA5BB88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808887" y="2323498"/>
            <a:ext cx="2458265" cy="537917"/>
          </a:xfrm>
        </p:spPr>
        <p:txBody>
          <a:bodyPr lIns="36000" tIns="36000" rIns="36000" bIns="36000">
            <a:noAutofit/>
          </a:bodyPr>
          <a:lstStyle>
            <a:lvl1pPr marL="0" indent="0">
              <a:buFont typeface="Arial" panose="020B0604020202020204" pitchFamily="34" charset="0"/>
              <a:buNone/>
              <a:defRPr sz="2800" b="1" i="0" spc="0" baseline="0">
                <a:solidFill>
                  <a:srgbClr val="253038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 Here</a:t>
            </a:r>
            <a:endParaRPr lang="en-GB" dirty="0"/>
          </a:p>
        </p:txBody>
      </p:sp>
      <p:sp>
        <p:nvSpPr>
          <p:cNvPr id="59" name="Text Placeholder 11">
            <a:extLst>
              <a:ext uri="{FF2B5EF4-FFF2-40B4-BE49-F238E27FC236}">
                <a16:creationId xmlns:a16="http://schemas.microsoft.com/office/drawing/2014/main" id="{04BF0831-AC94-6A45-88B8-AB25B0CE380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808882" y="2843429"/>
            <a:ext cx="2458266" cy="437029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800" b="0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title Here</a:t>
            </a:r>
            <a:endParaRPr lang="en-GB" dirty="0"/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429F488B-1C34-E34E-8F40-6316BDF6CE59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817687" y="3543577"/>
            <a:ext cx="2451448" cy="1445373"/>
          </a:xfrm>
        </p:spPr>
        <p:txBody>
          <a:bodyPr>
            <a:noAutofit/>
          </a:bodyPr>
          <a:lstStyle>
            <a:lvl1pPr>
              <a:defRPr sz="12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</p:txBody>
      </p:sp>
      <p:sp>
        <p:nvSpPr>
          <p:cNvPr id="62" name="Picture Placeholder 10">
            <a:extLst>
              <a:ext uri="{FF2B5EF4-FFF2-40B4-BE49-F238E27FC236}">
                <a16:creationId xmlns:a16="http://schemas.microsoft.com/office/drawing/2014/main" id="{A72D4981-5E09-4D48-AD22-90D0488E6A4C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808881" y="1581544"/>
            <a:ext cx="512922" cy="512922"/>
          </a:xfrm>
        </p:spPr>
        <p:txBody>
          <a:bodyPr>
            <a:normAutofit/>
          </a:bodyPr>
          <a:lstStyle>
            <a:lvl1pPr>
              <a:defRPr sz="900" b="0" i="0">
                <a:latin typeface="Source Sans Pro" panose="020B0503030403020204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E5D7B3-895A-CA44-8FCF-25451CBC8B3E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255041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91D949F-452A-F24D-BBF9-8BBC26309E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8486" y="2419523"/>
            <a:ext cx="986712" cy="537914"/>
          </a:xfrm>
        </p:spPr>
        <p:txBody>
          <a:bodyPr lIns="36000" tIns="36000" rIns="36000" bIns="36000">
            <a:noAutofit/>
          </a:bodyPr>
          <a:lstStyle>
            <a:lvl1pPr marL="0" indent="0" algn="l">
              <a:buNone/>
              <a:defRPr sz="2400" b="1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01</a:t>
            </a:r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4687E05-83E2-2047-AF2B-D93286B5741B}"/>
              </a:ext>
            </a:extLst>
          </p:cNvPr>
          <p:cNvCxnSpPr>
            <a:cxnSpLocks/>
          </p:cNvCxnSpPr>
          <p:nvPr userDrawn="1"/>
        </p:nvCxnSpPr>
        <p:spPr>
          <a:xfrm>
            <a:off x="588088" y="3095975"/>
            <a:ext cx="10922701" cy="0"/>
          </a:xfrm>
          <a:prstGeom prst="line">
            <a:avLst/>
          </a:prstGeom>
          <a:noFill/>
          <a:ln w="12700" cap="flat">
            <a:solidFill>
              <a:srgbClr val="BCBCBC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9C6ADCC-E01D-D84E-AA85-9FEF17E4C14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7286" y="3305421"/>
            <a:ext cx="1528581" cy="1867702"/>
          </a:xfrm>
        </p:spPr>
        <p:txBody>
          <a:bodyPr>
            <a:noAutofit/>
          </a:bodyPr>
          <a:lstStyle>
            <a:lvl1pPr>
              <a:defRPr sz="10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AC99B3F-75FF-284C-8382-25BE5E55F9C4}"/>
              </a:ext>
            </a:extLst>
          </p:cNvPr>
          <p:cNvSpPr/>
          <p:nvPr userDrawn="1"/>
        </p:nvSpPr>
        <p:spPr>
          <a:xfrm>
            <a:off x="494570" y="2984375"/>
            <a:ext cx="224712" cy="223200"/>
          </a:xfrm>
          <a:prstGeom prst="ellipse">
            <a:avLst/>
          </a:prstGeom>
          <a:solidFill>
            <a:schemeClr val="bg2"/>
          </a:solidFill>
          <a:ln w="19050" cap="flat">
            <a:solidFill>
              <a:srgbClr val="05B09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cs typeface="Silka Medium"/>
              <a:sym typeface="Silka Medium"/>
            </a:endParaRP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BF9003C8-4BA3-9047-8644-844311E140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348820" y="2419523"/>
            <a:ext cx="986712" cy="537914"/>
          </a:xfrm>
        </p:spPr>
        <p:txBody>
          <a:bodyPr lIns="36000" tIns="36000" rIns="36000" bIns="36000">
            <a:noAutofit/>
          </a:bodyPr>
          <a:lstStyle>
            <a:lvl1pPr marL="0" indent="0" algn="l">
              <a:buNone/>
              <a:defRPr sz="2400" b="1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02</a:t>
            </a:r>
            <a:endParaRPr lang="en-GB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F6E9D90-99F3-C84E-A28A-6BFA26D3D20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357620" y="3305421"/>
            <a:ext cx="1528581" cy="1867693"/>
          </a:xfrm>
        </p:spPr>
        <p:txBody>
          <a:bodyPr>
            <a:noAutofit/>
          </a:bodyPr>
          <a:lstStyle>
            <a:lvl1pPr>
              <a:defRPr sz="10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5DE3D73-2516-7D4D-B580-EEF2E82CF43E}"/>
              </a:ext>
            </a:extLst>
          </p:cNvPr>
          <p:cNvSpPr/>
          <p:nvPr userDrawn="1"/>
        </p:nvSpPr>
        <p:spPr>
          <a:xfrm>
            <a:off x="2314904" y="2984375"/>
            <a:ext cx="224712" cy="223200"/>
          </a:xfrm>
          <a:prstGeom prst="ellipse">
            <a:avLst/>
          </a:prstGeom>
          <a:solidFill>
            <a:schemeClr val="bg2"/>
          </a:solidFill>
          <a:ln w="19050" cap="flat">
            <a:solidFill>
              <a:srgbClr val="05B09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cs typeface="Silka Medium"/>
              <a:sym typeface="Silka Medium"/>
            </a:endParaRP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9F1BFB3F-24F0-3546-ADC1-AF6D98A72F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77619" y="2419523"/>
            <a:ext cx="986712" cy="537914"/>
          </a:xfrm>
        </p:spPr>
        <p:txBody>
          <a:bodyPr lIns="36000" tIns="36000" rIns="36000" bIns="36000">
            <a:noAutofit/>
          </a:bodyPr>
          <a:lstStyle>
            <a:lvl1pPr marL="0" indent="0" algn="l">
              <a:buNone/>
              <a:defRPr sz="2400" b="1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03</a:t>
            </a:r>
            <a:endParaRPr lang="en-GB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67BA38A1-99E8-A44A-9D0E-A5D82CFB992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186419" y="3305421"/>
            <a:ext cx="1528581" cy="1867702"/>
          </a:xfrm>
        </p:spPr>
        <p:txBody>
          <a:bodyPr>
            <a:noAutofit/>
          </a:bodyPr>
          <a:lstStyle>
            <a:lvl1pPr>
              <a:defRPr sz="10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70158864-DE79-2943-9175-75685B9300A4}"/>
              </a:ext>
            </a:extLst>
          </p:cNvPr>
          <p:cNvSpPr/>
          <p:nvPr userDrawn="1"/>
        </p:nvSpPr>
        <p:spPr>
          <a:xfrm>
            <a:off x="4143703" y="2984375"/>
            <a:ext cx="224712" cy="223200"/>
          </a:xfrm>
          <a:prstGeom prst="ellipse">
            <a:avLst/>
          </a:prstGeom>
          <a:solidFill>
            <a:schemeClr val="bg2"/>
          </a:solidFill>
          <a:ln w="19050" cap="flat">
            <a:solidFill>
              <a:srgbClr val="05B09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cs typeface="Silka Medium"/>
              <a:sym typeface="Silka Medium"/>
            </a:endParaRP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2958B3E9-BE4E-6241-A331-0879BB6B2C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97953" y="2419523"/>
            <a:ext cx="986712" cy="537914"/>
          </a:xfrm>
        </p:spPr>
        <p:txBody>
          <a:bodyPr lIns="36000" tIns="36000" rIns="36000" bIns="36000">
            <a:noAutofit/>
          </a:bodyPr>
          <a:lstStyle>
            <a:lvl1pPr marL="0" indent="0" algn="l">
              <a:buNone/>
              <a:defRPr sz="2400" b="1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04</a:t>
            </a:r>
            <a:endParaRPr lang="en-GB" dirty="0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97520A5-660B-E043-A7DE-34F2D88FBA9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006753" y="3305421"/>
            <a:ext cx="1528581" cy="1867693"/>
          </a:xfrm>
        </p:spPr>
        <p:txBody>
          <a:bodyPr>
            <a:noAutofit/>
          </a:bodyPr>
          <a:lstStyle>
            <a:lvl1pPr>
              <a:defRPr sz="10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41DB5580-5F09-D24F-83A4-FB3A5238F028}"/>
              </a:ext>
            </a:extLst>
          </p:cNvPr>
          <p:cNvSpPr/>
          <p:nvPr userDrawn="1"/>
        </p:nvSpPr>
        <p:spPr>
          <a:xfrm>
            <a:off x="5964037" y="2984375"/>
            <a:ext cx="224712" cy="223200"/>
          </a:xfrm>
          <a:prstGeom prst="ellipse">
            <a:avLst/>
          </a:prstGeom>
          <a:solidFill>
            <a:schemeClr val="bg2"/>
          </a:solidFill>
          <a:ln w="19050" cap="flat">
            <a:solidFill>
              <a:srgbClr val="05B09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cs typeface="Silka Medium"/>
              <a:sym typeface="Silka Medium"/>
            </a:endParaRP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B772D8F9-DF49-BA40-8218-30BCF645A09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92885" y="2419523"/>
            <a:ext cx="986712" cy="537914"/>
          </a:xfrm>
        </p:spPr>
        <p:txBody>
          <a:bodyPr lIns="36000" tIns="36000" rIns="36000" bIns="36000">
            <a:noAutofit/>
          </a:bodyPr>
          <a:lstStyle>
            <a:lvl1pPr marL="0" indent="0" algn="l">
              <a:buNone/>
              <a:defRPr sz="2400" b="1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05</a:t>
            </a:r>
            <a:endParaRPr lang="en-GB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5FE7CF6-7449-E54F-AED6-28E9EBF239BC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7801685" y="3305421"/>
            <a:ext cx="1528581" cy="1867702"/>
          </a:xfrm>
        </p:spPr>
        <p:txBody>
          <a:bodyPr>
            <a:noAutofit/>
          </a:bodyPr>
          <a:lstStyle>
            <a:lvl1pPr>
              <a:defRPr sz="10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A532D4C-FDBA-8B41-B686-6C4DE4E6D2B7}"/>
              </a:ext>
            </a:extLst>
          </p:cNvPr>
          <p:cNvSpPr/>
          <p:nvPr userDrawn="1"/>
        </p:nvSpPr>
        <p:spPr>
          <a:xfrm>
            <a:off x="7758969" y="2984375"/>
            <a:ext cx="224712" cy="223200"/>
          </a:xfrm>
          <a:prstGeom prst="ellipse">
            <a:avLst/>
          </a:prstGeom>
          <a:solidFill>
            <a:schemeClr val="bg2"/>
          </a:solidFill>
          <a:ln w="19050" cap="flat">
            <a:solidFill>
              <a:srgbClr val="05B09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cs typeface="Silka Medium"/>
              <a:sym typeface="Silka Medium"/>
            </a:endParaRP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3EA55EC4-B409-A046-8D9A-CBE06588293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613219" y="2419523"/>
            <a:ext cx="986712" cy="537914"/>
          </a:xfrm>
        </p:spPr>
        <p:txBody>
          <a:bodyPr lIns="36000" tIns="36000" rIns="36000" bIns="36000">
            <a:noAutofit/>
          </a:bodyPr>
          <a:lstStyle>
            <a:lvl1pPr marL="0" indent="0" algn="l">
              <a:buNone/>
              <a:defRPr sz="2400" b="1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06</a:t>
            </a:r>
            <a:endParaRPr lang="en-GB" dirty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5B0249D2-EC90-0D4F-9140-51B1039E6DE4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9622019" y="3305421"/>
            <a:ext cx="1528581" cy="1867693"/>
          </a:xfrm>
        </p:spPr>
        <p:txBody>
          <a:bodyPr>
            <a:noAutofit/>
          </a:bodyPr>
          <a:lstStyle>
            <a:lvl1pPr>
              <a:defRPr sz="10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1FD1351-C926-144B-8734-968FB2D548AD}"/>
              </a:ext>
            </a:extLst>
          </p:cNvPr>
          <p:cNvSpPr/>
          <p:nvPr userDrawn="1"/>
        </p:nvSpPr>
        <p:spPr>
          <a:xfrm>
            <a:off x="9579303" y="2984375"/>
            <a:ext cx="224712" cy="223200"/>
          </a:xfrm>
          <a:prstGeom prst="ellipse">
            <a:avLst/>
          </a:prstGeom>
          <a:solidFill>
            <a:schemeClr val="bg2"/>
          </a:solidFill>
          <a:ln w="19050" cap="flat">
            <a:solidFill>
              <a:srgbClr val="05B09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cs typeface="Silka Medium"/>
              <a:sym typeface="Silka Medium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25C8453-66DA-A644-BF3B-AE727255107E}"/>
              </a:ext>
            </a:extLst>
          </p:cNvPr>
          <p:cNvSpPr/>
          <p:nvPr userDrawn="1"/>
        </p:nvSpPr>
        <p:spPr>
          <a:xfrm>
            <a:off x="11281103" y="2984375"/>
            <a:ext cx="224712" cy="223200"/>
          </a:xfrm>
          <a:prstGeom prst="ellipse">
            <a:avLst/>
          </a:prstGeom>
          <a:solidFill>
            <a:schemeClr val="bg2"/>
          </a:solidFill>
          <a:ln w="19050" cap="flat">
            <a:solidFill>
              <a:srgbClr val="05B09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cs typeface="Silka Medium"/>
              <a:sym typeface="Silka Medium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A050F4-4A4D-A848-B119-8F8E489B373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8B321E0-7E90-5C49-A974-65EF94717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195721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1 -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7F9656-8594-4949-816C-762BAFBA7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FC7F04-D737-C847-AF2C-FBCA8A5410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08ED66-61EC-4049-8383-000BF234EB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2288" y="1316038"/>
            <a:ext cx="10531475" cy="502443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116713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6EC8B222-4A5F-D84A-9A65-A24317DA040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82735" y="1809270"/>
            <a:ext cx="3605212" cy="313782"/>
          </a:xfrm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Insert item</a:t>
            </a:r>
            <a:endParaRPr lang="en-GB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8923381B-5088-8A43-A970-858B94B0B16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582735" y="2488046"/>
            <a:ext cx="3605212" cy="313782"/>
          </a:xfrm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Insert item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0057B65-560F-3446-90D9-9B9D1DC31CA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582735" y="3166822"/>
            <a:ext cx="3605212" cy="313782"/>
          </a:xfrm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Insert item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CB62DF57-15E7-0947-A08D-B5AA7757E92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82735" y="3845598"/>
            <a:ext cx="3605212" cy="313782"/>
          </a:xfrm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Insert item</a:t>
            </a:r>
            <a:endParaRPr lang="en-GB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5C2529B-0F34-3148-8A27-AAAB747C51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82735" y="4524374"/>
            <a:ext cx="3605212" cy="313782"/>
          </a:xfrm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Insert item</a:t>
            </a:r>
            <a:endParaRPr lang="en-GB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0011DFD-FBE2-A140-9CD9-4C1C2636D18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82735" y="5203148"/>
            <a:ext cx="3605212" cy="313782"/>
          </a:xfrm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Insert item</a:t>
            </a:r>
            <a:endParaRPr lang="en-GB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0B599EC-E557-5F43-9E95-45447D1ECD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6768" y="1766404"/>
            <a:ext cx="1073150" cy="625135"/>
          </a:xfrm>
        </p:spPr>
        <p:txBody>
          <a:bodyPr anchor="ctr">
            <a:noAutofit/>
          </a:bodyPr>
          <a:lstStyle>
            <a:lvl1pPr marL="0" indent="0" algn="r">
              <a:spcBef>
                <a:spcPts val="0"/>
              </a:spcBef>
              <a:buFontTx/>
              <a:buNone/>
              <a:defRPr sz="3600" b="1" i="0">
                <a:solidFill>
                  <a:srgbClr val="23AE9F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00</a:t>
            </a:r>
            <a:endParaRPr lang="en-GB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83125F8-11DA-E642-B57E-14D0159D33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6768" y="2444524"/>
            <a:ext cx="1073150" cy="625135"/>
          </a:xfrm>
        </p:spPr>
        <p:txBody>
          <a:bodyPr anchor="ctr">
            <a:noAutofit/>
          </a:bodyPr>
          <a:lstStyle>
            <a:lvl1pPr marL="0" indent="0" algn="r">
              <a:spcBef>
                <a:spcPts val="0"/>
              </a:spcBef>
              <a:buFontTx/>
              <a:buNone/>
              <a:defRPr sz="3600" b="1" i="0">
                <a:solidFill>
                  <a:srgbClr val="23AE9F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00</a:t>
            </a:r>
            <a:endParaRPr lang="en-GB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AAE5299-210B-9748-A937-601EEED03A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6768" y="3122644"/>
            <a:ext cx="1073150" cy="625135"/>
          </a:xfrm>
        </p:spPr>
        <p:txBody>
          <a:bodyPr anchor="ctr">
            <a:noAutofit/>
          </a:bodyPr>
          <a:lstStyle>
            <a:lvl1pPr marL="0" indent="0" algn="r">
              <a:spcBef>
                <a:spcPts val="0"/>
              </a:spcBef>
              <a:buFontTx/>
              <a:buNone/>
              <a:defRPr sz="3600" b="1" i="0">
                <a:solidFill>
                  <a:srgbClr val="23AE9F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00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D14048D-E2CD-8541-8932-EDB7BA19C4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768" y="3800764"/>
            <a:ext cx="1073150" cy="625135"/>
          </a:xfrm>
        </p:spPr>
        <p:txBody>
          <a:bodyPr anchor="ctr">
            <a:noAutofit/>
          </a:bodyPr>
          <a:lstStyle>
            <a:lvl1pPr marL="0" indent="0" algn="r">
              <a:spcBef>
                <a:spcPts val="0"/>
              </a:spcBef>
              <a:buFontTx/>
              <a:buNone/>
              <a:defRPr sz="3600" b="1" i="0">
                <a:solidFill>
                  <a:srgbClr val="23AE9F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00</a:t>
            </a:r>
            <a:endParaRPr lang="en-GB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6C0989D-0D8E-1E4F-88B4-5E7FD26613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768" y="4478884"/>
            <a:ext cx="1073150" cy="625135"/>
          </a:xfrm>
        </p:spPr>
        <p:txBody>
          <a:bodyPr anchor="ctr">
            <a:noAutofit/>
          </a:bodyPr>
          <a:lstStyle>
            <a:lvl1pPr marL="0" indent="0" algn="r">
              <a:spcBef>
                <a:spcPts val="0"/>
              </a:spcBef>
              <a:buFontTx/>
              <a:buNone/>
              <a:defRPr sz="3600" b="1" i="0">
                <a:solidFill>
                  <a:srgbClr val="23AE9F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00</a:t>
            </a:r>
            <a:endParaRPr lang="en-GB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0A140FD-D591-5C4B-93C8-1CF6306856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06768" y="5157005"/>
            <a:ext cx="1073150" cy="625135"/>
          </a:xfrm>
        </p:spPr>
        <p:txBody>
          <a:bodyPr anchor="ctr">
            <a:noAutofit/>
          </a:bodyPr>
          <a:lstStyle>
            <a:lvl1pPr marL="0" indent="0" algn="r">
              <a:spcBef>
                <a:spcPts val="0"/>
              </a:spcBef>
              <a:buFontTx/>
              <a:buNone/>
              <a:defRPr sz="3600" b="1" i="0">
                <a:solidFill>
                  <a:srgbClr val="23AE9F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00</a:t>
            </a:r>
            <a:endParaRPr lang="en-GB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5944EB4-8D8F-9D46-9765-F5CB22755350}"/>
              </a:ext>
            </a:extLst>
          </p:cNvPr>
          <p:cNvCxnSpPr>
            <a:cxnSpLocks/>
          </p:cNvCxnSpPr>
          <p:nvPr userDrawn="1"/>
        </p:nvCxnSpPr>
        <p:spPr>
          <a:xfrm>
            <a:off x="1423788" y="1850825"/>
            <a:ext cx="0" cy="456293"/>
          </a:xfrm>
          <a:prstGeom prst="line">
            <a:avLst/>
          </a:prstGeom>
          <a:ln w="12700">
            <a:solidFill>
              <a:srgbClr val="23A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A17BD6F-1AC0-1F48-B040-B3B845E23398}"/>
              </a:ext>
            </a:extLst>
          </p:cNvPr>
          <p:cNvCxnSpPr>
            <a:cxnSpLocks/>
          </p:cNvCxnSpPr>
          <p:nvPr userDrawn="1"/>
        </p:nvCxnSpPr>
        <p:spPr>
          <a:xfrm>
            <a:off x="1423788" y="2528945"/>
            <a:ext cx="0" cy="456293"/>
          </a:xfrm>
          <a:prstGeom prst="line">
            <a:avLst/>
          </a:prstGeom>
          <a:ln w="12700">
            <a:solidFill>
              <a:srgbClr val="23A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8A9F462-1E33-E84A-85DE-07E63B43C380}"/>
              </a:ext>
            </a:extLst>
          </p:cNvPr>
          <p:cNvCxnSpPr>
            <a:cxnSpLocks/>
          </p:cNvCxnSpPr>
          <p:nvPr userDrawn="1"/>
        </p:nvCxnSpPr>
        <p:spPr>
          <a:xfrm>
            <a:off x="1411452" y="3207065"/>
            <a:ext cx="0" cy="456293"/>
          </a:xfrm>
          <a:prstGeom prst="line">
            <a:avLst/>
          </a:prstGeom>
          <a:ln w="12700">
            <a:solidFill>
              <a:srgbClr val="23A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3D2100B-DEAE-7F49-9989-E6C8DBF19202}"/>
              </a:ext>
            </a:extLst>
          </p:cNvPr>
          <p:cNvCxnSpPr>
            <a:cxnSpLocks/>
          </p:cNvCxnSpPr>
          <p:nvPr userDrawn="1"/>
        </p:nvCxnSpPr>
        <p:spPr>
          <a:xfrm>
            <a:off x="1411452" y="3885185"/>
            <a:ext cx="0" cy="456293"/>
          </a:xfrm>
          <a:prstGeom prst="line">
            <a:avLst/>
          </a:prstGeom>
          <a:ln w="12700">
            <a:solidFill>
              <a:srgbClr val="23A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0B9267B-43D5-B745-B162-964D26A8B036}"/>
              </a:ext>
            </a:extLst>
          </p:cNvPr>
          <p:cNvCxnSpPr>
            <a:cxnSpLocks/>
          </p:cNvCxnSpPr>
          <p:nvPr userDrawn="1"/>
        </p:nvCxnSpPr>
        <p:spPr>
          <a:xfrm>
            <a:off x="1411452" y="4563305"/>
            <a:ext cx="0" cy="456293"/>
          </a:xfrm>
          <a:prstGeom prst="line">
            <a:avLst/>
          </a:prstGeom>
          <a:ln w="12700">
            <a:solidFill>
              <a:srgbClr val="23A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D767CE6-70F1-064C-9D6D-C431568DFEBB}"/>
              </a:ext>
            </a:extLst>
          </p:cNvPr>
          <p:cNvCxnSpPr>
            <a:cxnSpLocks/>
          </p:cNvCxnSpPr>
          <p:nvPr userDrawn="1"/>
        </p:nvCxnSpPr>
        <p:spPr>
          <a:xfrm>
            <a:off x="1411452" y="5241426"/>
            <a:ext cx="0" cy="456293"/>
          </a:xfrm>
          <a:prstGeom prst="line">
            <a:avLst/>
          </a:prstGeom>
          <a:ln w="12700">
            <a:solidFill>
              <a:srgbClr val="23A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F876B2F-71A0-454B-8051-36979D7F36C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82735" y="2035344"/>
            <a:ext cx="3605212" cy="313782"/>
          </a:xfrm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Insert item sub text here</a:t>
            </a:r>
            <a:endParaRPr lang="en-GB" dirty="0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9BBE4CE4-98DF-8B44-9471-113CEF5D4C8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82735" y="5429305"/>
            <a:ext cx="3605212" cy="313782"/>
          </a:xfrm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Insert item sub text here</a:t>
            </a:r>
            <a:endParaRPr lang="en-GB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9C6361F7-4AB6-B24C-AC29-561ECEBE779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82735" y="4750512"/>
            <a:ext cx="3605212" cy="313782"/>
          </a:xfrm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Insert item sub text here</a:t>
            </a:r>
            <a:endParaRPr lang="en-GB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FEAF670E-E7DB-544E-9151-6EBC7D93534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82735" y="4071720"/>
            <a:ext cx="3605212" cy="313782"/>
          </a:xfrm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Insert item sub text here</a:t>
            </a:r>
            <a:endParaRPr lang="en-GB" dirty="0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65FBFE6-B10D-0D46-A2F3-E58E803BAD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82735" y="3392928"/>
            <a:ext cx="3605212" cy="313782"/>
          </a:xfrm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Insert item sub text here</a:t>
            </a:r>
            <a:endParaRPr lang="en-GB" dirty="0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350D4269-165A-B244-9ED8-F5411EC7AE7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582735" y="2714136"/>
            <a:ext cx="3605212" cy="313782"/>
          </a:xfrm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Insert item sub text here</a:t>
            </a:r>
            <a:endParaRPr lang="en-GB" dirty="0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376FF9D3-C6FB-0740-B95F-C7DDBBE8D15A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5540375" y="1766888"/>
            <a:ext cx="5838825" cy="3976687"/>
          </a:xfrm>
        </p:spPr>
        <p:txBody>
          <a:bodyPr/>
          <a:lstStyle>
            <a:lvl1pPr>
              <a:defRPr b="0" i="0">
                <a:latin typeface="Source Sans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9" name="Line">
            <a:extLst>
              <a:ext uri="{FF2B5EF4-FFF2-40B4-BE49-F238E27FC236}">
                <a16:creationId xmlns:a16="http://schemas.microsoft.com/office/drawing/2014/main" id="{3E2DF75A-56B5-6145-B06A-58F95908CFAE}"/>
              </a:ext>
            </a:extLst>
          </p:cNvPr>
          <p:cNvSpPr/>
          <p:nvPr userDrawn="1"/>
        </p:nvSpPr>
        <p:spPr>
          <a:xfrm flipH="1" flipV="1">
            <a:off x="11622999" y="6694662"/>
            <a:ext cx="0" cy="163338"/>
          </a:xfrm>
          <a:prstGeom prst="line">
            <a:avLst/>
          </a:prstGeom>
          <a:ln w="12700">
            <a:solidFill>
              <a:schemeClr val="bg2">
                <a:alpha val="25000"/>
              </a:schemeClr>
            </a:solidFill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uFillTx/>
                <a:latin typeface="Silka Medium"/>
                <a:ea typeface="Silka Medium"/>
                <a:cs typeface="Silka Medium"/>
                <a:sym typeface="Silka Medium"/>
              </a:defRPr>
            </a:pPr>
            <a:endParaRPr sz="1600" b="0" i="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D20606-EF54-E24E-BAFE-FC66F9E18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81C34C-2365-A649-85BF-E8994F2A568C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400275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-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6EC8B222-4A5F-D84A-9A65-A24317DA040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894" y="1809269"/>
            <a:ext cx="2601801" cy="3882071"/>
          </a:xfrm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0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Insert item</a:t>
            </a:r>
            <a:endParaRPr lang="en-GB" dirty="0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5795FE43-06E3-0945-B9B5-415D0F585D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8486" y="520098"/>
            <a:ext cx="10023040" cy="537917"/>
          </a:xfrm>
        </p:spPr>
        <p:txBody>
          <a:bodyPr lIns="36000" tIns="36000" rIns="36000" bIns="36000">
            <a:noAutofit/>
          </a:bodyPr>
          <a:lstStyle>
            <a:lvl1pPr marL="0" indent="0">
              <a:buFont typeface="Arial" panose="020B0604020202020204" pitchFamily="34" charset="0"/>
              <a:buNone/>
              <a:defRPr sz="2800" b="1" i="0" spc="0" baseline="0">
                <a:solidFill>
                  <a:srgbClr val="253038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 here</a:t>
            </a:r>
            <a:endParaRPr lang="en-GB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CED6605-57F9-F74C-8B43-6F696C6B49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52568" y="1809269"/>
            <a:ext cx="2601801" cy="3882071"/>
          </a:xfrm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0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Insert item</a:t>
            </a:r>
            <a:endParaRPr lang="en-GB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3E5C114-E274-7F47-B254-CB2821E2FC1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7242" y="1809269"/>
            <a:ext cx="2601801" cy="3882071"/>
          </a:xfrm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0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Insert item</a:t>
            </a:r>
            <a:endParaRPr lang="en-GB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F629AE26-A275-9546-8051-04519B2209F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61917" y="1809269"/>
            <a:ext cx="2601801" cy="3882071"/>
          </a:xfrm>
        </p:spPr>
        <p:txBody>
          <a:bodyPr anchor="t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0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>
              <a:buFontTx/>
              <a:buNone/>
              <a:defRPr sz="4800">
                <a:latin typeface="+mj-lt"/>
              </a:defRPr>
            </a:lvl2pPr>
            <a:lvl3pPr>
              <a:buFontTx/>
              <a:buNone/>
              <a:defRPr sz="4800">
                <a:latin typeface="+mj-lt"/>
              </a:defRPr>
            </a:lvl3pPr>
            <a:lvl4pPr>
              <a:buFontTx/>
              <a:buNone/>
              <a:defRPr sz="4800">
                <a:latin typeface="+mj-lt"/>
              </a:defRPr>
            </a:lvl4pPr>
            <a:lvl5pPr>
              <a:buFontTx/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Insert item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48E91D-DFD0-084F-9C48-61157EAEDEA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588940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Tex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663E16A-772B-C743-8941-168217F7FB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769685" y="1585448"/>
            <a:ext cx="4923715" cy="4273469"/>
          </a:xfrm>
        </p:spPr>
        <p:txBody>
          <a:bodyPr>
            <a:noAutofit/>
          </a:bodyPr>
          <a:lstStyle>
            <a:lvl1pPr>
              <a:defRPr sz="11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endParaRPr lang="en-US" dirty="0"/>
          </a:p>
        </p:txBody>
      </p:sp>
      <p:sp>
        <p:nvSpPr>
          <p:cNvPr id="11" name="Picture Placeholder 32">
            <a:extLst>
              <a:ext uri="{FF2B5EF4-FFF2-40B4-BE49-F238E27FC236}">
                <a16:creationId xmlns:a16="http://schemas.microsoft.com/office/drawing/2014/main" id="{2BC5B686-4A48-6441-A47C-F287A31E2B98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" y="0"/>
            <a:ext cx="5139266" cy="6858000"/>
          </a:xfrm>
          <a:solidFill>
            <a:srgbClr val="BCBCBC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E6E9ED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2BDE92B-CFED-BA44-94F7-C36F841B376B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5610E32-F10B-2240-A09B-118589859A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9685" y="520097"/>
            <a:ext cx="4915066" cy="52877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322226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2">
            <a:extLst>
              <a:ext uri="{FF2B5EF4-FFF2-40B4-BE49-F238E27FC236}">
                <a16:creationId xmlns:a16="http://schemas.microsoft.com/office/drawing/2014/main" id="{2BC5B686-4A48-6441-A47C-F287A31E2B98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-1"/>
            <a:ext cx="12192000" cy="6231467"/>
          </a:xfrm>
          <a:solidFill>
            <a:srgbClr val="BCBCBC"/>
          </a:solidFill>
          <a:ln>
            <a:noFill/>
          </a:ln>
        </p:spPr>
        <p:txBody>
          <a:bodyPr anchor="ctr"/>
          <a:lstStyle>
            <a:lvl1pPr algn="ctr">
              <a:defRPr>
                <a:solidFill>
                  <a:srgbClr val="E6E9ED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90A722-0FD4-B04C-92E4-67C6F5FC2F32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359599" y="6376447"/>
            <a:ext cx="521803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10D9C5A-0CF0-7C4C-9C4F-8D531DCA2D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406526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43E77633-408C-8641-A8B3-89A02C9E52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22388" y="4240402"/>
            <a:ext cx="3766920" cy="537917"/>
          </a:xfrm>
        </p:spPr>
        <p:txBody>
          <a:bodyPr lIns="36000" tIns="36000" rIns="36000" bIns="36000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 b="0" i="0" spc="0" baseline="0">
                <a:solidFill>
                  <a:srgbClr val="05B09F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D2F6999-2F09-F248-B266-91D4A7EF094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500118" y="2046280"/>
            <a:ext cx="6144313" cy="1806054"/>
          </a:xfrm>
        </p:spPr>
        <p:txBody>
          <a:bodyPr>
            <a:noAutofit/>
          </a:bodyPr>
          <a:lstStyle>
            <a:lvl1pPr>
              <a:defRPr sz="18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E6E03F5-F6FD-BC43-A38C-20EC46B1FA25}"/>
              </a:ext>
            </a:extLst>
          </p:cNvPr>
          <p:cNvSpPr/>
          <p:nvPr userDrawn="1"/>
        </p:nvSpPr>
        <p:spPr>
          <a:xfrm>
            <a:off x="3562100" y="4296176"/>
            <a:ext cx="142875" cy="142875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 dirty="0">
              <a:ln>
                <a:noFill/>
              </a:ln>
              <a:noFill/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cs typeface="Silka Medium"/>
              <a:sym typeface="Silka Medium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74D3737-0B85-2C46-8697-6D4F00EC99E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8A8F2D3-3996-984E-A07E-E568E291FE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63882" y="1565243"/>
            <a:ext cx="1278081" cy="111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448223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centages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91D949F-452A-F24D-BBF9-8BBC26309E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41728" y="2634952"/>
            <a:ext cx="3133006" cy="734852"/>
          </a:xfrm>
        </p:spPr>
        <p:txBody>
          <a:bodyPr lIns="36000" tIns="36000" rIns="36000" bIns="36000">
            <a:noAutofit/>
          </a:bodyPr>
          <a:lstStyle>
            <a:lvl1pPr marL="0" indent="0" algn="l">
              <a:buNone/>
              <a:defRPr sz="6600" b="1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4687E05-83E2-2047-AF2B-D93286B5741B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2075" y="2676389"/>
            <a:ext cx="845497" cy="1862666"/>
          </a:xfrm>
          <a:prstGeom prst="line">
            <a:avLst/>
          </a:prstGeom>
          <a:noFill/>
          <a:ln w="25400" cap="flat">
            <a:solidFill>
              <a:srgbClr val="22292E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9C6ADCC-E01D-D84E-AA85-9FEF17E4C14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183364" y="3603468"/>
            <a:ext cx="2451448" cy="1445373"/>
          </a:xfrm>
        </p:spPr>
        <p:txBody>
          <a:bodyPr>
            <a:noAutofit/>
          </a:bodyPr>
          <a:lstStyle>
            <a:lvl1pPr>
              <a:defRPr sz="10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FC5F4A27-29DC-6941-B1C8-9499AFB875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05927" y="2634952"/>
            <a:ext cx="3014473" cy="734852"/>
          </a:xfrm>
        </p:spPr>
        <p:txBody>
          <a:bodyPr lIns="36000" tIns="36000" rIns="36000" bIns="36000">
            <a:noAutofit/>
          </a:bodyPr>
          <a:lstStyle>
            <a:lvl1pPr marL="0" indent="0" algn="l">
              <a:buNone/>
              <a:defRPr sz="6600" b="1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7D439D9-E43B-9148-B057-C8F972942935}"/>
              </a:ext>
            </a:extLst>
          </p:cNvPr>
          <p:cNvCxnSpPr>
            <a:cxnSpLocks/>
          </p:cNvCxnSpPr>
          <p:nvPr userDrawn="1"/>
        </p:nvCxnSpPr>
        <p:spPr>
          <a:xfrm flipV="1">
            <a:off x="6826275" y="2676389"/>
            <a:ext cx="845497" cy="1862666"/>
          </a:xfrm>
          <a:prstGeom prst="line">
            <a:avLst/>
          </a:prstGeom>
          <a:noFill/>
          <a:ln w="25400" cap="flat">
            <a:solidFill>
              <a:srgbClr val="22292E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38A6420E-41D1-F14B-8724-EB7C2C30749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847564" y="3603468"/>
            <a:ext cx="2451448" cy="1445373"/>
          </a:xfrm>
        </p:spPr>
        <p:txBody>
          <a:bodyPr>
            <a:noAutofit/>
          </a:bodyPr>
          <a:lstStyle>
            <a:lvl1pPr>
              <a:defRPr sz="10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F47918-878C-6445-A46A-366CBF2D55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2D1C97-FD45-8640-B869-30CAA0C535B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132562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Slid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43E77633-408C-8641-A8B3-89A02C9E52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8486" y="2323498"/>
            <a:ext cx="10023040" cy="537917"/>
          </a:xfrm>
        </p:spPr>
        <p:txBody>
          <a:bodyPr lIns="36000" tIns="36000" rIns="36000" bIns="36000">
            <a:noAutofit/>
          </a:bodyPr>
          <a:lstStyle>
            <a:lvl1pPr marL="0" indent="0">
              <a:buFont typeface="Arial" panose="020B0604020202020204" pitchFamily="34" charset="0"/>
              <a:buNone/>
              <a:defRPr sz="2800" b="1" i="0" spc="0" baseline="0">
                <a:solidFill>
                  <a:srgbClr val="253038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 Here</a:t>
            </a:r>
            <a:endParaRPr lang="en-GB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74D6B67A-47ED-D441-B1FC-9469D3BC3C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8480" y="2843429"/>
            <a:ext cx="10023043" cy="437029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800" b="0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title Her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D4D368-9CAF-F943-9706-77254DA90A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7285" y="3543577"/>
            <a:ext cx="9995247" cy="1445373"/>
          </a:xfrm>
        </p:spPr>
        <p:txBody>
          <a:bodyPr>
            <a:noAutofit/>
          </a:bodyPr>
          <a:lstStyle>
            <a:lvl1pPr>
              <a:defRPr sz="1200" b="0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8923F5-F60C-9440-8F67-2FE3C1BFFA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10D9C5A-0CF0-7C4C-9C4F-8D531DCA2DD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FE5BD852-0A26-E943-A90D-DEE5F0F334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35" r="435"/>
          <a:stretch/>
        </p:blipFill>
        <p:spPr>
          <a:xfrm>
            <a:off x="595162" y="1"/>
            <a:ext cx="801334" cy="187904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F8A1DA8-0AFB-084D-BCC2-427683150C7A}"/>
              </a:ext>
            </a:extLst>
          </p:cNvPr>
          <p:cNvSpPr/>
          <p:nvPr userDrawn="1"/>
        </p:nvSpPr>
        <p:spPr>
          <a:xfrm>
            <a:off x="0" y="6752492"/>
            <a:ext cx="12192000" cy="213916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cs typeface="Silka Medium"/>
              <a:sym typeface="Silka Medium"/>
            </a:endParaRPr>
          </a:p>
        </p:txBody>
      </p:sp>
    </p:spTree>
    <p:extLst>
      <p:ext uri="{BB962C8B-B14F-4D97-AF65-F5344CB8AC3E}">
        <p14:creationId xmlns:p14="http://schemas.microsoft.com/office/powerpoint/2010/main" val="3191564523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51B7C4-6B72-D14D-A47A-AFB470ED445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37286" y="1452630"/>
            <a:ext cx="4932350" cy="4776410"/>
          </a:xfrm>
        </p:spPr>
        <p:txBody>
          <a:bodyPr/>
          <a:lstStyle>
            <a:lvl1pPr>
              <a:defRPr b="0" i="0">
                <a:latin typeface="Source Sans Pro" panose="020B0503030403020204" pitchFamily="34" charset="0"/>
              </a:defRPr>
            </a:lvl1pPr>
            <a:lvl2pPr>
              <a:defRPr b="0" i="0">
                <a:latin typeface="Source Sans Pro" panose="020B0503030403020204" pitchFamily="34" charset="0"/>
              </a:defRPr>
            </a:lvl2pPr>
            <a:lvl3pPr>
              <a:defRPr b="0" i="0">
                <a:latin typeface="Source Sans Pro" panose="020B0503030403020204" pitchFamily="34" charset="0"/>
              </a:defRPr>
            </a:lvl3pPr>
            <a:lvl4pPr>
              <a:defRPr b="0" i="0">
                <a:latin typeface="Source Sans Pro" panose="020B0503030403020204" pitchFamily="34" charset="0"/>
              </a:defRPr>
            </a:lvl4pPr>
            <a:lvl5pPr>
              <a:defRPr b="0" i="0"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41FFBB6-0AA3-E847-94DD-5B69F9460FB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77585" y="1452630"/>
            <a:ext cx="5086907" cy="4776410"/>
          </a:xfrm>
        </p:spPr>
        <p:txBody>
          <a:bodyPr/>
          <a:lstStyle>
            <a:lvl1pPr>
              <a:defRPr b="0" i="0">
                <a:latin typeface="Source Sans Pro" panose="020B0503030403020204" pitchFamily="34" charset="0"/>
              </a:defRPr>
            </a:lvl1pPr>
            <a:lvl2pPr>
              <a:defRPr b="0" i="0">
                <a:latin typeface="Source Sans Pro" panose="020B0503030403020204" pitchFamily="34" charset="0"/>
              </a:defRPr>
            </a:lvl2pPr>
            <a:lvl3pPr>
              <a:defRPr b="0" i="0">
                <a:latin typeface="Source Sans Pro" panose="020B0503030403020204" pitchFamily="34" charset="0"/>
              </a:defRPr>
            </a:lvl3pPr>
            <a:lvl4pPr>
              <a:defRPr b="0" i="0">
                <a:latin typeface="Source Sans Pro" panose="020B0503030403020204" pitchFamily="34" charset="0"/>
              </a:defRPr>
            </a:lvl4pPr>
            <a:lvl5pPr>
              <a:defRPr b="0" i="0"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AC22FF6-A881-F64C-9FA4-6C673C4846F1}"/>
              </a:ext>
            </a:extLst>
          </p:cNvPr>
          <p:cNvSpPr txBox="1"/>
          <p:nvPr userDrawn="1"/>
        </p:nvSpPr>
        <p:spPr>
          <a:xfrm>
            <a:off x="1203158" y="1299411"/>
            <a:ext cx="0" cy="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5400" tIns="25400" rIns="25400" bIns="25400" numCol="1" spcCol="38100" rtlCol="0" anchor="t">
            <a:normAutofit fontScale="25000" lnSpcReduction="20000"/>
          </a:bodyPr>
          <a:lstStyle/>
          <a:p>
            <a:pPr marL="0" marR="0" indent="0" algn="l" defTabSz="228600" rtl="0" fontAlgn="auto" latinLnBrk="0" hangingPunct="0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900" b="0" i="0" u="none" strike="noStrike" cap="none" spc="0" normalizeH="0" baseline="0" dirty="0">
              <a:ln>
                <a:noFill/>
              </a:ln>
              <a:solidFill>
                <a:srgbClr val="132421"/>
              </a:solidFill>
              <a:effectLst/>
              <a:uFill>
                <a:solidFill>
                  <a:srgbClr val="132421"/>
                </a:solidFill>
              </a:uFill>
              <a:latin typeface="Source Sans Pro" panose="020B0503030403020204" pitchFamily="34" charset="0"/>
              <a:ea typeface="Silka Light"/>
              <a:cs typeface="Silka Light"/>
              <a:sym typeface="Silka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1C009E-4063-EC47-BBEA-9630A8D37A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D6838E-21AE-4F45-ACF8-17B5BA42B6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19866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thanks -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1D70DE14-F448-0C4C-99B7-6D1674E54FF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61630" y="1384300"/>
            <a:ext cx="3581400" cy="4089400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50CDEEF-1CA1-CC48-B6EE-30F2BDFE271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37286" y="4921502"/>
            <a:ext cx="3602635" cy="1117559"/>
          </a:xfrm>
        </p:spPr>
        <p:txBody>
          <a:bodyPr>
            <a:noAutofit/>
          </a:bodyPr>
          <a:lstStyle>
            <a:lvl1pPr>
              <a:defRPr sz="1200" b="0" i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AD03888-2970-A74A-B2B8-49EBFF861D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486" y="3635086"/>
            <a:ext cx="3601387" cy="1178074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160661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7C32447-8590-4095-B7D6-A58F93055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5723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7C32447-8590-4095-B7D6-A58F93055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/>
              <a:t>Restricted | © Siemens 2021 |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9124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C2DC303-1B93-4665-A33F-6717F698E4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200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C2DC303-1B93-4665-A33F-6717F698E4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it-IT"/>
              <a:t>Restricted | © Siemens 2021 |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782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sse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E7B4382-849C-4C11-A34B-5E998F74A9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0"/>
            <a:ext cx="12191999" cy="6858000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E7DFD7B-395B-4F2C-B7D8-83453000ED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9012556" y="6376036"/>
            <a:ext cx="2743200" cy="365760"/>
          </a:xfrm>
          <a:prstGeom prst="rect">
            <a:avLst/>
          </a:prstGeom>
        </p:spPr>
        <p:txBody>
          <a:bodyPr/>
          <a:lstStyle>
            <a:lvl1pPr>
              <a:defRPr sz="1080" smtClean="0"/>
            </a:lvl1pPr>
          </a:lstStyle>
          <a:p>
            <a:pPr>
              <a:defRPr/>
            </a:pPr>
            <a:fld id="{AD7FA855-72A0-4B3D-B621-3FFF22EC0BAF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E87865-B0D6-4718-BF8A-F638652A74AE}"/>
              </a:ext>
            </a:extLst>
          </p:cNvPr>
          <p:cNvCxnSpPr>
            <a:cxnSpLocks/>
          </p:cNvCxnSpPr>
          <p:nvPr/>
        </p:nvCxnSpPr>
        <p:spPr>
          <a:xfrm>
            <a:off x="481966" y="361950"/>
            <a:ext cx="11710034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82B65FB3-9780-45CA-A870-9782626BDD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1831" y="6356350"/>
            <a:ext cx="2592000" cy="365125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/>
              <a:t>Lloyd's Register</a:t>
            </a:r>
            <a:endParaRPr lang="en-GB">
              <a:solidFill>
                <a:schemeClr val="accent6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EF02022-3BE8-4CF8-B6B6-CAF7FD17253D}"/>
              </a:ext>
            </a:extLst>
          </p:cNvPr>
          <p:cNvCxnSpPr>
            <a:cxnSpLocks/>
          </p:cNvCxnSpPr>
          <p:nvPr userDrawn="1"/>
        </p:nvCxnSpPr>
        <p:spPr>
          <a:xfrm>
            <a:off x="481966" y="361950"/>
            <a:ext cx="11710034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EB3EB854-6558-4F8B-99C2-A4DE032A92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3021645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Slide -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8AA7098-1D0F-E742-9C72-57F9A7FFDA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7286" y="5450554"/>
            <a:ext cx="4324864" cy="436026"/>
          </a:xfrm>
        </p:spPr>
        <p:txBody>
          <a:bodyPr lIns="36000" tIns="36000" rIns="36000" bIns="36000">
            <a:noAutofit/>
          </a:bodyPr>
          <a:lstStyle>
            <a:lvl1pPr>
              <a:buNone/>
              <a:defRPr sz="1400" b="0" i="0" spc="300" baseline="0">
                <a:solidFill>
                  <a:schemeClr val="tx1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43E77633-408C-8641-A8B3-89A02C9E52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8486" y="2209023"/>
            <a:ext cx="5504014" cy="1649803"/>
          </a:xfrm>
        </p:spPr>
        <p:txBody>
          <a:bodyPr lIns="36000" tIns="36000" rIns="36000" bIns="36000">
            <a:noAutofit/>
          </a:bodyPr>
          <a:lstStyle>
            <a:lvl1pPr marL="0" indent="0">
              <a:buFont typeface="Arial" panose="020B0604020202020204" pitchFamily="34" charset="0"/>
              <a:buNone/>
              <a:defRPr sz="4400" b="1" i="0" spc="0" baseline="0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Enter Presentation Title Here</a:t>
            </a:r>
            <a:endParaRPr lang="en-GB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74D6B67A-47ED-D441-B1FC-9469D3BC3C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8480" y="3858827"/>
            <a:ext cx="5504013" cy="734852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800" b="0" i="0" spc="300" baseline="0">
                <a:solidFill>
                  <a:schemeClr val="tx1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ype Presentation Subtitle Here</a:t>
            </a:r>
            <a:endParaRPr lang="en-GB" dirty="0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E4C479A9-532B-ED47-A5F7-F646A4429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35" r="435"/>
          <a:stretch/>
        </p:blipFill>
        <p:spPr>
          <a:xfrm>
            <a:off x="595162" y="1"/>
            <a:ext cx="801334" cy="187904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380552-D3B2-A940-A740-FA75C2814B9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83317" y="6376447"/>
            <a:ext cx="474366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10D9C5A-0CF0-7C4C-9C4F-8D531DCA2D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C80BD6-FF71-0E47-AE04-DDFF1DCB4873}"/>
              </a:ext>
            </a:extLst>
          </p:cNvPr>
          <p:cNvSpPr/>
          <p:nvPr userDrawn="1"/>
        </p:nvSpPr>
        <p:spPr>
          <a:xfrm>
            <a:off x="0" y="6752492"/>
            <a:ext cx="12192000" cy="213916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cs typeface="Silka Medium"/>
              <a:sym typeface="Silka Medium"/>
            </a:endParaRPr>
          </a:p>
        </p:txBody>
      </p:sp>
    </p:spTree>
    <p:extLst>
      <p:ext uri="{BB962C8B-B14F-4D97-AF65-F5344CB8AC3E}">
        <p14:creationId xmlns:p14="http://schemas.microsoft.com/office/powerpoint/2010/main" val="1386248939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-1 - Divider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9226F0AD-16DD-854C-87D4-62CE059431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1672041"/>
            <a:ext cx="7048843" cy="3549777"/>
          </a:xfrm>
          <a:prstGeom prst="rect">
            <a:avLst/>
          </a:prstGeom>
        </p:spPr>
      </p:pic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FC3E3A2-F049-9D49-81E0-A44E9DC843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57036" y="1988527"/>
            <a:ext cx="2894776" cy="2834484"/>
          </a:xfrm>
        </p:spPr>
        <p:txBody>
          <a:bodyPr>
            <a:normAutofit/>
          </a:bodyPr>
          <a:lstStyle>
            <a:lvl1pPr>
              <a:defRPr sz="2800" b="1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 marL="317500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3763218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-2 -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5EA10A6D-376C-1846-BD94-FC6B2B0FF6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7626" y="1307210"/>
            <a:ext cx="5046303" cy="2260132"/>
          </a:xfrm>
        </p:spPr>
        <p:txBody>
          <a:bodyPr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 marL="317500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D66A99B-9E44-2F44-93A9-1539FA3CF7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949590" y="0"/>
            <a:ext cx="1270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466621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-4 - Divider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CF49691-016E-724F-9079-3D9E7E7C26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7626" y="1307209"/>
            <a:ext cx="5046304" cy="2260132"/>
          </a:xfrm>
        </p:spPr>
        <p:txBody>
          <a:bodyPr>
            <a:noAutofit/>
          </a:bodyPr>
          <a:lstStyle>
            <a:lvl1pPr>
              <a:defRPr sz="4400" b="1" i="0">
                <a:solidFill>
                  <a:schemeClr val="bg1"/>
                </a:solidFill>
                <a:latin typeface="Source Sans Pro" panose="020B0503030403020204" pitchFamily="34" charset="0"/>
              </a:defRPr>
            </a:lvl1pPr>
            <a:lvl2pPr marL="317500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6C4A9D7-9A16-F44C-AB4B-728D04D8F5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949590" y="0"/>
            <a:ext cx="1270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480921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-5 - 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>
            <a:extLst>
              <a:ext uri="{FF2B5EF4-FFF2-40B4-BE49-F238E27FC236}">
                <a16:creationId xmlns:a16="http://schemas.microsoft.com/office/drawing/2014/main" id="{17590F1A-714B-A147-BF12-27AF1E88FF82}"/>
              </a:ext>
            </a:extLst>
          </p:cNvPr>
          <p:cNvSpPr/>
          <p:nvPr userDrawn="1"/>
        </p:nvSpPr>
        <p:spPr>
          <a:xfrm flipH="1">
            <a:off x="0" y="1805146"/>
            <a:ext cx="12192000" cy="3328700"/>
          </a:xfrm>
          <a:custGeom>
            <a:avLst/>
            <a:gdLst>
              <a:gd name="connsiteX0" fmla="*/ 3126700 w 12192000"/>
              <a:gd name="connsiteY0" fmla="*/ 428200 h 3328700"/>
              <a:gd name="connsiteX1" fmla="*/ 3126700 w 12192000"/>
              <a:gd name="connsiteY1" fmla="*/ 2900500 h 3328700"/>
              <a:gd name="connsiteX2" fmla="*/ 1733046 w 12192000"/>
              <a:gd name="connsiteY2" fmla="*/ 2900500 h 3328700"/>
              <a:gd name="connsiteX3" fmla="*/ 1733046 w 12192000"/>
              <a:gd name="connsiteY3" fmla="*/ 2648776 h 3328700"/>
              <a:gd name="connsiteX4" fmla="*/ 2824030 w 12192000"/>
              <a:gd name="connsiteY4" fmla="*/ 2648776 h 3328700"/>
              <a:gd name="connsiteX5" fmla="*/ 2824030 w 12192000"/>
              <a:gd name="connsiteY5" fmla="*/ 428200 h 3328700"/>
              <a:gd name="connsiteX6" fmla="*/ 2287562 w 12192000"/>
              <a:gd name="connsiteY6" fmla="*/ 427993 h 3328700"/>
              <a:gd name="connsiteX7" fmla="*/ 2287562 w 12192000"/>
              <a:gd name="connsiteY7" fmla="*/ 678687 h 3328700"/>
              <a:gd name="connsiteX8" fmla="*/ 1931576 w 12192000"/>
              <a:gd name="connsiteY8" fmla="*/ 678687 h 3328700"/>
              <a:gd name="connsiteX9" fmla="*/ 1326026 w 12192000"/>
              <a:gd name="connsiteY9" fmla="*/ 1164818 h 3328700"/>
              <a:gd name="connsiteX10" fmla="*/ 1943194 w 12192000"/>
              <a:gd name="connsiteY10" fmla="*/ 1654248 h 3328700"/>
              <a:gd name="connsiteX11" fmla="*/ 2288392 w 12192000"/>
              <a:gd name="connsiteY11" fmla="*/ 1654248 h 3328700"/>
              <a:gd name="connsiteX12" fmla="*/ 1265452 w 12192000"/>
              <a:gd name="connsiteY12" fmla="*/ 2901119 h 3328700"/>
              <a:gd name="connsiteX13" fmla="*/ 897018 w 12192000"/>
              <a:gd name="connsiteY13" fmla="*/ 2901119 h 3328700"/>
              <a:gd name="connsiteX14" fmla="*/ 1729518 w 12192000"/>
              <a:gd name="connsiteY14" fmla="*/ 1881645 h 3328700"/>
              <a:gd name="connsiteX15" fmla="*/ 1730556 w 12192000"/>
              <a:gd name="connsiteY15" fmla="*/ 1881645 h 3328700"/>
              <a:gd name="connsiteX16" fmla="*/ 1025222 w 12192000"/>
              <a:gd name="connsiteY16" fmla="*/ 1164818 h 3328700"/>
              <a:gd name="connsiteX17" fmla="*/ 1902740 w 12192000"/>
              <a:gd name="connsiteY17" fmla="*/ 427993 h 3328700"/>
              <a:gd name="connsiteX18" fmla="*/ 12192000 w 12192000"/>
              <a:gd name="connsiteY18" fmla="*/ 0 h 3328700"/>
              <a:gd name="connsiteX19" fmla="*/ 0 w 12192000"/>
              <a:gd name="connsiteY19" fmla="*/ 0 h 3328700"/>
              <a:gd name="connsiteX20" fmla="*/ 0 w 12192000"/>
              <a:gd name="connsiteY20" fmla="*/ 3328700 h 3328700"/>
              <a:gd name="connsiteX21" fmla="*/ 12192000 w 12192000"/>
              <a:gd name="connsiteY21" fmla="*/ 3328700 h 33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3328700">
                <a:moveTo>
                  <a:pt x="3126700" y="428200"/>
                </a:moveTo>
                <a:lnTo>
                  <a:pt x="3126700" y="2900500"/>
                </a:lnTo>
                <a:lnTo>
                  <a:pt x="1733046" y="2900500"/>
                </a:lnTo>
                <a:lnTo>
                  <a:pt x="1733046" y="2648776"/>
                </a:lnTo>
                <a:lnTo>
                  <a:pt x="2824030" y="2648776"/>
                </a:lnTo>
                <a:lnTo>
                  <a:pt x="2824030" y="428200"/>
                </a:lnTo>
                <a:close/>
                <a:moveTo>
                  <a:pt x="2287562" y="427993"/>
                </a:moveTo>
                <a:lnTo>
                  <a:pt x="2287562" y="678687"/>
                </a:lnTo>
                <a:lnTo>
                  <a:pt x="1931576" y="678687"/>
                </a:lnTo>
                <a:cubicBezTo>
                  <a:pt x="1542812" y="678687"/>
                  <a:pt x="1326026" y="853513"/>
                  <a:pt x="1326026" y="1164818"/>
                </a:cubicBezTo>
                <a:cubicBezTo>
                  <a:pt x="1326026" y="1476123"/>
                  <a:pt x="1554430" y="1654248"/>
                  <a:pt x="1943194" y="1654248"/>
                </a:cubicBezTo>
                <a:lnTo>
                  <a:pt x="2288392" y="1654248"/>
                </a:lnTo>
                <a:lnTo>
                  <a:pt x="1265452" y="2901119"/>
                </a:lnTo>
                <a:lnTo>
                  <a:pt x="897018" y="2901119"/>
                </a:lnTo>
                <a:lnTo>
                  <a:pt x="1729518" y="1881645"/>
                </a:lnTo>
                <a:lnTo>
                  <a:pt x="1730556" y="1881645"/>
                </a:lnTo>
                <a:cubicBezTo>
                  <a:pt x="1290760" y="1845154"/>
                  <a:pt x="1025222" y="1558795"/>
                  <a:pt x="1025222" y="1164818"/>
                </a:cubicBezTo>
                <a:cubicBezTo>
                  <a:pt x="1025222" y="703426"/>
                  <a:pt x="1351336" y="427993"/>
                  <a:pt x="1902740" y="427993"/>
                </a:cubicBezTo>
                <a:close/>
                <a:moveTo>
                  <a:pt x="12192000" y="0"/>
                </a:moveTo>
                <a:lnTo>
                  <a:pt x="0" y="0"/>
                </a:lnTo>
                <a:lnTo>
                  <a:pt x="0" y="3328700"/>
                </a:lnTo>
                <a:lnTo>
                  <a:pt x="12192000" y="3328700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 dirty="0">
              <a:ln>
                <a:noFill/>
              </a:ln>
              <a:noFill/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cs typeface="Silka Medium"/>
              <a:sym typeface="Silka Medium"/>
            </a:endParaRP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3871A414-1841-024A-A3E7-568A8B934D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06260" y="1792941"/>
            <a:ext cx="4956657" cy="3316940"/>
          </a:xfrm>
        </p:spPr>
        <p:txBody>
          <a:bodyPr anchor="ctr" anchorCtr="0">
            <a:noAutofit/>
          </a:bodyPr>
          <a:lstStyle>
            <a:lvl1pPr>
              <a:defRPr sz="4400" b="1" i="0">
                <a:solidFill>
                  <a:srgbClr val="000000"/>
                </a:solidFill>
                <a:latin typeface="Source Sans Pro" panose="020B0503030403020204" pitchFamily="34" charset="0"/>
              </a:defRPr>
            </a:lvl1pPr>
            <a:lvl2pPr marL="317500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3458172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1575CC-B8B7-324B-8B99-4A5C36B988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2275764-C7A8-5640-B3AC-B3FDF0F386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2288" y="1316038"/>
            <a:ext cx="10531475" cy="502443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3C7F884-C9EC-3749-8DA5-4469296992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257470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43E77633-408C-8641-A8B3-89A02C9E52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8485" y="2323498"/>
            <a:ext cx="5296581" cy="537917"/>
          </a:xfrm>
        </p:spPr>
        <p:txBody>
          <a:bodyPr lIns="36000" tIns="36000" rIns="36000" bIns="36000">
            <a:noAutofit/>
          </a:bodyPr>
          <a:lstStyle>
            <a:lvl1pPr marL="0" indent="0">
              <a:buFont typeface="Arial" panose="020B0604020202020204" pitchFamily="34" charset="0"/>
              <a:buNone/>
              <a:defRPr sz="2800" b="1" i="0" spc="0" baseline="0">
                <a:solidFill>
                  <a:srgbClr val="253038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 Here</a:t>
            </a:r>
            <a:endParaRPr lang="en-GB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74D6B67A-47ED-D441-B1FC-9469D3BC3C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8480" y="2843429"/>
            <a:ext cx="5296583" cy="437029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800" b="0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title Her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D4D368-9CAF-F943-9706-77254DA90A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37286" y="3543577"/>
            <a:ext cx="5281894" cy="144537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 b="0" i="0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0801CFC-437A-D04A-83DD-5E56E0B355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28480" y="1581544"/>
            <a:ext cx="512922" cy="512922"/>
          </a:xfrm>
        </p:spPr>
        <p:txBody>
          <a:bodyPr>
            <a:normAutofit/>
          </a:bodyPr>
          <a:lstStyle>
            <a:lvl1pPr>
              <a:defRPr sz="900" b="0" i="0">
                <a:latin typeface="Source Sans Pro" panose="020B0503030403020204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F509B07-55BC-8C4A-B000-2B02FB2CB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19685" y="2323498"/>
            <a:ext cx="5296581" cy="537917"/>
          </a:xfrm>
        </p:spPr>
        <p:txBody>
          <a:bodyPr lIns="36000" tIns="36000" rIns="36000" bIns="36000">
            <a:noAutofit/>
          </a:bodyPr>
          <a:lstStyle>
            <a:lvl1pPr marL="0" indent="0">
              <a:buFont typeface="Arial" panose="020B0604020202020204" pitchFamily="34" charset="0"/>
              <a:buNone/>
              <a:defRPr sz="2800" b="1" i="0" spc="0" baseline="0">
                <a:solidFill>
                  <a:srgbClr val="253038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Title Here</a:t>
            </a:r>
            <a:endParaRPr lang="en-GB" dirty="0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CDFE5456-FEB7-C545-993D-201AA1F2DAE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19680" y="2843429"/>
            <a:ext cx="5296583" cy="437029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800" b="0" i="0" spc="300" baseline="0">
                <a:solidFill>
                  <a:srgbClr val="05B09F"/>
                </a:solidFill>
                <a:latin typeface="Source Sans Pro" panose="020B0503030403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Subtitle Here</a:t>
            </a:r>
            <a:endParaRPr lang="en-GB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013543A7-3DA8-6046-8950-0E656F12A66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8486" y="3543577"/>
            <a:ext cx="5281894" cy="144537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 b="0" i="0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 sz="1200">
                <a:latin typeface="+mn-ea"/>
                <a:ea typeface="+mn-ea"/>
              </a:defRPr>
            </a:lvl2pPr>
            <a:lvl3pPr>
              <a:defRPr sz="1200">
                <a:latin typeface="+mn-ea"/>
                <a:ea typeface="+mn-ea"/>
              </a:defRPr>
            </a:lvl3pPr>
            <a:lvl4pPr>
              <a:defRPr sz="1200">
                <a:latin typeface="+mn-ea"/>
                <a:ea typeface="+mn-ea"/>
              </a:defRPr>
            </a:lvl4pPr>
            <a:lvl5pPr>
              <a:defRPr sz="1200">
                <a:latin typeface="+mn-ea"/>
                <a:ea typeface="+mn-ea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.</a:t>
            </a:r>
          </a:p>
        </p:txBody>
      </p:sp>
      <p:sp>
        <p:nvSpPr>
          <p:cNvPr id="32" name="Picture Placeholder 10">
            <a:extLst>
              <a:ext uri="{FF2B5EF4-FFF2-40B4-BE49-F238E27FC236}">
                <a16:creationId xmlns:a16="http://schemas.microsoft.com/office/drawing/2014/main" id="{753B23CD-03A6-5A48-94DD-F3487E7D15F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19680" y="1581544"/>
            <a:ext cx="512922" cy="512922"/>
          </a:xfrm>
        </p:spPr>
        <p:txBody>
          <a:bodyPr>
            <a:normAutofit/>
          </a:bodyPr>
          <a:lstStyle>
            <a:lvl1pPr>
              <a:defRPr sz="900" b="0" i="0">
                <a:latin typeface="Source Sans Pro" panose="020B0503030403020204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B84183-4F3E-4D40-A9EF-444C207BD3F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958477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ADFEE8BE-3D03-6441-A5B2-B9F09F33643D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1413886" y="5896402"/>
            <a:ext cx="413680" cy="961598"/>
          </a:xfrm>
          <a:prstGeom prst="rect">
            <a:avLst/>
          </a:prstGeom>
        </p:spPr>
      </p:pic>
      <p:sp>
        <p:nvSpPr>
          <p:cNvPr id="3" name="Title Text"/>
          <p:cNvSpPr txBox="1">
            <a:spLocks noGrp="1"/>
          </p:cNvSpPr>
          <p:nvPr>
            <p:ph type="title"/>
          </p:nvPr>
        </p:nvSpPr>
        <p:spPr>
          <a:xfrm>
            <a:off x="528486" y="520097"/>
            <a:ext cx="10502900" cy="528773"/>
          </a:xfrm>
          <a:prstGeom prst="rect">
            <a:avLst/>
          </a:prstGeom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36000" tIns="36000" rIns="36000" bIns="36000">
            <a:noAutofit/>
          </a:bodyPr>
          <a:lstStyle/>
          <a:p>
            <a:pPr lvl="0" rtl="0" eaLnBrk="1" hangingPunct="1">
              <a:spcBef>
                <a:spcPts val="2950"/>
              </a:spcBef>
              <a:buSzPct val="125000"/>
              <a:buFont typeface="Arial" panose="020B0604020202020204" pitchFamily="34" charset="0"/>
            </a:pPr>
            <a:r>
              <a:rPr dirty="0"/>
              <a:t>Title Text</a:t>
            </a:r>
          </a:p>
        </p:txBody>
      </p:sp>
      <p:sp>
        <p:nvSpPr>
          <p:cNvPr id="4" name="Body Level One…"/>
          <p:cNvSpPr txBox="1">
            <a:spLocks noGrp="1"/>
          </p:cNvSpPr>
          <p:nvPr>
            <p:ph type="body" idx="1"/>
          </p:nvPr>
        </p:nvSpPr>
        <p:spPr>
          <a:xfrm>
            <a:off x="528486" y="1574800"/>
            <a:ext cx="10498102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 anchor="t">
            <a:normAutofit/>
          </a:bodyPr>
          <a:lstStyle/>
          <a:p>
            <a:r>
              <a:rPr lang="en-GB"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89DEA08C-C9FD-AB4A-93EC-E9A7CA08C2E0}"/>
              </a:ext>
            </a:extLst>
          </p:cNvPr>
          <p:cNvSpPr/>
          <p:nvPr userDrawn="1"/>
        </p:nvSpPr>
        <p:spPr>
          <a:xfrm flipH="1" flipV="1">
            <a:off x="11622999" y="6694662"/>
            <a:ext cx="0" cy="163338"/>
          </a:xfrm>
          <a:prstGeom prst="line">
            <a:avLst/>
          </a:prstGeom>
          <a:ln w="12700">
            <a:solidFill>
              <a:schemeClr val="bg2">
                <a:alpha val="25000"/>
              </a:schemeClr>
            </a:solidFill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uFillTx/>
                <a:latin typeface="Silka Medium"/>
                <a:ea typeface="Silka Medium"/>
                <a:cs typeface="Silka Medium"/>
                <a:sym typeface="Silka Medium"/>
              </a:defRPr>
            </a:pPr>
            <a:endParaRPr sz="1600" b="0" i="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5056054-DDE5-144D-95A2-8063D737C6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4879" y="6376447"/>
            <a:ext cx="43124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fld id="{E10D9C5A-0CF0-7C4C-9C4F-8D531DCA2DD4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3A9B4F6-2874-194B-8F62-92A030EE0213}"/>
              </a:ext>
            </a:extLst>
          </p:cNvPr>
          <p:cNvGrpSpPr/>
          <p:nvPr userDrawn="1"/>
        </p:nvGrpSpPr>
        <p:grpSpPr>
          <a:xfrm>
            <a:off x="0" y="6752492"/>
            <a:ext cx="12192000" cy="105508"/>
            <a:chOff x="0" y="6752492"/>
            <a:chExt cx="12192000" cy="105508"/>
          </a:xfrm>
          <a:solidFill>
            <a:schemeClr val="tx1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A50B166-7169-E242-8F40-159C31C98BAC}"/>
                </a:ext>
              </a:extLst>
            </p:cNvPr>
            <p:cNvSpPr/>
            <p:nvPr userDrawn="1"/>
          </p:nvSpPr>
          <p:spPr>
            <a:xfrm>
              <a:off x="0" y="6752492"/>
              <a:ext cx="11455401" cy="105508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Silka Medium"/>
                <a:sym typeface="Silka Medium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CE8344A-92B6-3849-9C33-244C17858664}"/>
                </a:ext>
              </a:extLst>
            </p:cNvPr>
            <p:cNvSpPr/>
            <p:nvPr userDrawn="1"/>
          </p:nvSpPr>
          <p:spPr>
            <a:xfrm>
              <a:off x="11779249" y="6752492"/>
              <a:ext cx="412751" cy="105508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Silka Medium"/>
                <a:sym typeface="Silka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7204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681" r:id="rId2"/>
    <p:sldLayoutId id="2147483739" r:id="rId3"/>
    <p:sldLayoutId id="2147483764" r:id="rId4"/>
    <p:sldLayoutId id="2147483765" r:id="rId5"/>
    <p:sldLayoutId id="2147483766" r:id="rId6"/>
    <p:sldLayoutId id="2147483767" r:id="rId7"/>
    <p:sldLayoutId id="2147483687" r:id="rId8"/>
    <p:sldLayoutId id="2147483682" r:id="rId9"/>
    <p:sldLayoutId id="2147483683" r:id="rId10"/>
    <p:sldLayoutId id="2147483684" r:id="rId11"/>
    <p:sldLayoutId id="2147483688" r:id="rId12"/>
    <p:sldLayoutId id="2147483740" r:id="rId13"/>
    <p:sldLayoutId id="2147483742" r:id="rId14"/>
    <p:sldLayoutId id="2147483744" r:id="rId15"/>
    <p:sldLayoutId id="2147483691" r:id="rId16"/>
    <p:sldLayoutId id="2147483693" r:id="rId17"/>
    <p:sldLayoutId id="2147483695" r:id="rId18"/>
    <p:sldLayoutId id="2147483718" r:id="rId19"/>
    <p:sldLayoutId id="2147483670" r:id="rId20"/>
    <p:sldLayoutId id="2147483714" r:id="rId21"/>
    <p:sldLayoutId id="2147483768" r:id="rId22"/>
    <p:sldLayoutId id="2147483769" r:id="rId23"/>
    <p:sldLayoutId id="2147483770" r:id="rId24"/>
  </p:sldLayoutIdLst>
  <p:transition spd="med"/>
  <p:hf hdr="0" ftr="0" dt="0"/>
  <p:txStyles>
    <p:titleStyle>
      <a:lvl1pPr marL="0" marR="0" indent="0" algn="l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1" i="0" u="none" strike="noStrike" kern="0" cap="none" spc="0" baseline="0" dirty="0">
          <a:solidFill>
            <a:srgbClr val="253038"/>
          </a:solidFill>
          <a:uFillTx/>
          <a:latin typeface="Source Sans Pro" panose="020B0503030403020204" pitchFamily="34" charset="0"/>
          <a:ea typeface="Source Sans Pro" panose="020B0503030403020204" pitchFamily="34" charset="0"/>
          <a:cs typeface="Source Sans Pro" panose="020B0503030403020204" pitchFamily="34" charset="0"/>
          <a:sym typeface="Silka Bold"/>
        </a:defRPr>
      </a:lvl1pPr>
      <a:lvl2pPr marL="0" marR="0" indent="0" algn="l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Silka Bold"/>
          <a:ea typeface="Silka Bold"/>
          <a:cs typeface="Silka Bold"/>
          <a:sym typeface="Silka Bold"/>
        </a:defRPr>
      </a:lvl2pPr>
      <a:lvl3pPr marL="0" marR="0" indent="0" algn="l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Silka Bold"/>
          <a:ea typeface="Silka Bold"/>
          <a:cs typeface="Silka Bold"/>
          <a:sym typeface="Silka Bold"/>
        </a:defRPr>
      </a:lvl3pPr>
      <a:lvl4pPr marL="0" marR="0" indent="0" algn="l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Silka Bold"/>
          <a:ea typeface="Silka Bold"/>
          <a:cs typeface="Silka Bold"/>
          <a:sym typeface="Silka Bold"/>
        </a:defRPr>
      </a:lvl4pPr>
      <a:lvl5pPr marL="0" marR="0" indent="0" algn="l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Silka Bold"/>
          <a:ea typeface="Silka Bold"/>
          <a:cs typeface="Silka Bold"/>
          <a:sym typeface="Silka Bold"/>
        </a:defRPr>
      </a:lvl5pPr>
      <a:lvl6pPr marL="0" marR="0" indent="0" algn="l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Silka Bold"/>
          <a:ea typeface="Silka Bold"/>
          <a:cs typeface="Silka Bold"/>
          <a:sym typeface="Silka Bold"/>
        </a:defRPr>
      </a:lvl6pPr>
      <a:lvl7pPr marL="0" marR="0" indent="0" algn="l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Silka Bold"/>
          <a:ea typeface="Silka Bold"/>
          <a:cs typeface="Silka Bold"/>
          <a:sym typeface="Silka Bold"/>
        </a:defRPr>
      </a:lvl7pPr>
      <a:lvl8pPr marL="0" marR="0" indent="0" algn="l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Silka Bold"/>
          <a:ea typeface="Silka Bold"/>
          <a:cs typeface="Silka Bold"/>
          <a:sym typeface="Silka Bold"/>
        </a:defRPr>
      </a:lvl8pPr>
      <a:lvl9pPr marL="0" marR="0" indent="0" algn="l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solidFill>
            <a:srgbClr val="000000"/>
          </a:solidFill>
          <a:uFillTx/>
          <a:latin typeface="Silka Bold"/>
          <a:ea typeface="Silka Bold"/>
          <a:cs typeface="Silka Bold"/>
          <a:sym typeface="Silka Bold"/>
        </a:defRPr>
      </a:lvl9pPr>
    </p:titleStyle>
    <p:bodyStyle>
      <a:lvl1pPr marL="0" marR="0" indent="0" algn="l" defTabSz="412750" latinLnBrk="0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SzPct val="125000"/>
        <a:buFontTx/>
        <a:buNone/>
        <a:tabLst/>
        <a:defRPr sz="2200" b="0" i="0" u="none" strike="noStrike" cap="none" spc="0" baseline="0">
          <a:solidFill>
            <a:srgbClr val="000000"/>
          </a:solidFill>
          <a:uFillTx/>
          <a:latin typeface="Source Sans Pro" panose="020B0503030403020204" pitchFamily="34" charset="0"/>
          <a:ea typeface="Source Sans Pro" panose="020B0503030403020204" pitchFamily="34" charset="0"/>
          <a:cs typeface="Source Sans Pro" panose="020B0503030403020204" pitchFamily="34" charset="0"/>
          <a:sym typeface="Silka Regular"/>
        </a:defRPr>
      </a:lvl1pPr>
      <a:lvl2pPr marL="621771" marR="0" indent="-304271" algn="l" defTabSz="412750" latinLnBrk="0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SzPct val="125000"/>
        <a:buFontTx/>
        <a:buChar char="•"/>
        <a:tabLst/>
        <a:defRPr sz="2000" b="0" i="0" u="none" strike="noStrike" cap="none" spc="0" baseline="0">
          <a:solidFill>
            <a:srgbClr val="000000"/>
          </a:solidFill>
          <a:uFillTx/>
          <a:latin typeface="Source Sans Pro" panose="020B0503030403020204" pitchFamily="34" charset="0"/>
          <a:ea typeface="Source Sans Pro" panose="020B0503030403020204" pitchFamily="34" charset="0"/>
          <a:cs typeface="Source Sans Pro" panose="020B0503030403020204" pitchFamily="34" charset="0"/>
          <a:sym typeface="Silka Regular"/>
        </a:defRPr>
      </a:lvl2pPr>
      <a:lvl3pPr marL="939271" marR="0" indent="-304271" algn="l" defTabSz="412750" latinLnBrk="0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SzPct val="125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Source Sans Pro" panose="020B0503030403020204" pitchFamily="34" charset="0"/>
          <a:ea typeface="Source Sans Pro" panose="020B0503030403020204" pitchFamily="34" charset="0"/>
          <a:cs typeface="Source Sans Pro" panose="020B0503030403020204" pitchFamily="34" charset="0"/>
          <a:sym typeface="Silka Regular"/>
        </a:defRPr>
      </a:lvl3pPr>
      <a:lvl4pPr marL="1256771" marR="0" indent="-304271" algn="l" defTabSz="412750" latinLnBrk="0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SzPct val="125000"/>
        <a:buFontTx/>
        <a:buChar char="•"/>
        <a:tabLst/>
        <a:defRPr sz="1600" b="0" i="0" u="none" strike="noStrike" cap="none" spc="0" baseline="0">
          <a:solidFill>
            <a:srgbClr val="000000"/>
          </a:solidFill>
          <a:uFillTx/>
          <a:latin typeface="Source Sans Pro" panose="020B0503030403020204" pitchFamily="34" charset="0"/>
          <a:ea typeface="Source Sans Pro" panose="020B0503030403020204" pitchFamily="34" charset="0"/>
          <a:cs typeface="Source Sans Pro" panose="020B0503030403020204" pitchFamily="34" charset="0"/>
          <a:sym typeface="Silka Regular"/>
        </a:defRPr>
      </a:lvl4pPr>
      <a:lvl5pPr marL="1574271" marR="0" indent="-304271" algn="l" defTabSz="412750" latinLnBrk="0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SzPct val="125000"/>
        <a:buFontTx/>
        <a:buChar char="•"/>
        <a:tabLst/>
        <a:defRPr sz="1400" b="0" i="0" u="none" strike="noStrike" cap="none" spc="0" baseline="0">
          <a:solidFill>
            <a:srgbClr val="000000"/>
          </a:solidFill>
          <a:uFillTx/>
          <a:latin typeface="Source Sans Pro" panose="020B0503030403020204" pitchFamily="34" charset="0"/>
          <a:ea typeface="Source Sans Pro" panose="020B0503030403020204" pitchFamily="34" charset="0"/>
          <a:cs typeface="Source Sans Pro" panose="020B0503030403020204" pitchFamily="34" charset="0"/>
          <a:sym typeface="Silka Regular"/>
        </a:defRPr>
      </a:lvl5pPr>
      <a:lvl6pPr marL="1891771" marR="0" indent="-304271" algn="l" defTabSz="412750" latinLnBrk="0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300" b="0" i="0" u="none" strike="noStrike" cap="none" spc="0" baseline="0">
          <a:solidFill>
            <a:srgbClr val="000000"/>
          </a:solidFill>
          <a:uFillTx/>
          <a:latin typeface="Silka Regular"/>
          <a:ea typeface="Silka Regular"/>
          <a:cs typeface="Silka Regular"/>
          <a:sym typeface="Silka Regular"/>
        </a:defRPr>
      </a:lvl6pPr>
      <a:lvl7pPr marL="2209271" marR="0" indent="-304271" algn="l" defTabSz="412750" latinLnBrk="0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300" b="0" i="0" u="none" strike="noStrike" cap="none" spc="0" baseline="0">
          <a:solidFill>
            <a:srgbClr val="000000"/>
          </a:solidFill>
          <a:uFillTx/>
          <a:latin typeface="Silka Regular"/>
          <a:ea typeface="Silka Regular"/>
          <a:cs typeface="Silka Regular"/>
          <a:sym typeface="Silka Regular"/>
        </a:defRPr>
      </a:lvl7pPr>
      <a:lvl8pPr marL="2526771" marR="0" indent="-304271" algn="l" defTabSz="412750" latinLnBrk="0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300" b="0" i="0" u="none" strike="noStrike" cap="none" spc="0" baseline="0">
          <a:solidFill>
            <a:srgbClr val="000000"/>
          </a:solidFill>
          <a:uFillTx/>
          <a:latin typeface="Silka Regular"/>
          <a:ea typeface="Silka Regular"/>
          <a:cs typeface="Silka Regular"/>
          <a:sym typeface="Silka Regular"/>
        </a:defRPr>
      </a:lvl8pPr>
      <a:lvl9pPr marL="2844271" marR="0" indent="-304271" algn="l" defTabSz="412750" latinLnBrk="0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300" b="0" i="0" u="none" strike="noStrike" cap="none" spc="0" baseline="0">
          <a:solidFill>
            <a:srgbClr val="000000"/>
          </a:solidFill>
          <a:uFillTx/>
          <a:latin typeface="Silka Regular"/>
          <a:ea typeface="Silka Regular"/>
          <a:cs typeface="Silka Regular"/>
          <a:sym typeface="Silka Regular"/>
        </a:defRPr>
      </a:lvl9pPr>
    </p:bodyStyle>
    <p:otherStyle>
      <a:lvl1pPr marL="0" marR="0" indent="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nkis A Sharp Dots Regular"/>
        </a:defRPr>
      </a:lvl1pPr>
      <a:lvl2pPr marL="0" marR="0" indent="1143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nkis A Sharp Dots Regular"/>
        </a:defRPr>
      </a:lvl2pPr>
      <a:lvl3pPr marL="0" marR="0" indent="2286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nkis A Sharp Dots Regular"/>
        </a:defRPr>
      </a:lvl3pPr>
      <a:lvl4pPr marL="0" marR="0" indent="3429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nkis A Sharp Dots Regular"/>
        </a:defRPr>
      </a:lvl4pPr>
      <a:lvl5pPr marL="0" marR="0" indent="4572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nkis A Sharp Dots Regular"/>
        </a:defRPr>
      </a:lvl5pPr>
      <a:lvl6pPr marL="0" marR="0" indent="5715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nkis A Sharp Dots Regular"/>
        </a:defRPr>
      </a:lvl6pPr>
      <a:lvl7pPr marL="0" marR="0" indent="6858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nkis A Sharp Dots Regular"/>
        </a:defRPr>
      </a:lvl7pPr>
      <a:lvl8pPr marL="0" marR="0" indent="8001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nkis A Sharp Dots Regular"/>
        </a:defRPr>
      </a:lvl8pPr>
      <a:lvl9pPr marL="0" marR="0" indent="9144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unkis A Sharp Dots Regular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se.gov.uk/foi/internalops/og/og-0086.pdf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electrical.theiet.org/guidance-codes-of-practice/publications-by-category/cyber-security/code-of-practice-cyber-security-and-safety/" TargetMode="External"/><Relationship Id="rId4" Type="http://schemas.openxmlformats.org/officeDocument/2006/relationships/hyperlink" Target="https://www.61508.org/images/downloads/T6A032_Technical_Guide_-_Considerations_for_Cybersecurity_during_the_Safety_Lifecycle_V1_e112020.pdf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jpeg"/><Relationship Id="rId7" Type="http://schemas.openxmlformats.org/officeDocument/2006/relationships/image" Target="../media/image32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1.png"/><Relationship Id="rId11" Type="http://schemas.openxmlformats.org/officeDocument/2006/relationships/image" Target="../media/image36.sv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sv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mailto:pete.brown@lr.org" TargetMode="Externa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6E36216-1D78-534C-81EA-E04BA0CB42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Functional Safety and Cyber Security International Standards Updat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50B132A-14BE-BF44-B30C-6FA6FF5878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 Quick Update</a:t>
            </a:r>
          </a:p>
        </p:txBody>
      </p:sp>
    </p:spTree>
    <p:extLst>
      <p:ext uri="{BB962C8B-B14F-4D97-AF65-F5344CB8AC3E}">
        <p14:creationId xmlns:p14="http://schemas.microsoft.com/office/powerpoint/2010/main" val="3504486598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FE8845-8B93-3FEA-0C6F-427029E8EF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Cyber Securit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C17C01-E679-73DF-0E2F-8B59DC12005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60200" y="6376988"/>
            <a:ext cx="431800" cy="365125"/>
          </a:xfrm>
        </p:spPr>
        <p:txBody>
          <a:bodyPr/>
          <a:lstStyle/>
          <a:p>
            <a:fld id="{E10D9C5A-0CF0-7C4C-9C4F-8D531DCA2DD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662406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06B9C8-29BF-2909-32F6-2A148F5D205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EF3F63-719B-4C3D-3BA6-1A74F0884A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Considering a standpoint of Functional Safety AND Cyber Security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Cyber Security is very important for industrial networks (EU Machinery Regulation)!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Some FS standards mention security requirements (e.g. IEC 61511)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Separate international standards (plus plenty of guidance!)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For many, the security focus is the IEC 62443 series of standards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“Security Extensions” for PROFINET (whitepaper / security class)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Possible new harmonized standard for security of machinery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5FD6B64-0428-8A0C-D7EC-AC4023CC9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o Safety without Security?</a:t>
            </a:r>
          </a:p>
        </p:txBody>
      </p:sp>
    </p:spTree>
    <p:extLst>
      <p:ext uri="{BB962C8B-B14F-4D97-AF65-F5344CB8AC3E}">
        <p14:creationId xmlns:p14="http://schemas.microsoft.com/office/powerpoint/2010/main" val="1080900958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4B94CE5-3429-B5CB-648E-74873EDCC0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B701BD-39AD-1E07-2F5F-804B55AC9D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77500" lnSpcReduction="20000"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800" dirty="0"/>
              <a:t>IEC 62443-2-1:2010 (stability date 2023)</a:t>
            </a:r>
          </a:p>
          <a:p>
            <a:pPr marL="964671" lvl="1" indent="-342900" algn="just">
              <a:buFont typeface="Wingdings" panose="05000000000000000000" pitchFamily="2" charset="2"/>
              <a:buChar char="§"/>
            </a:pPr>
            <a:r>
              <a:rPr lang="en-GB" sz="1800" i="1" dirty="0"/>
              <a:t>Industrial communication networks – Network and system security – Part 2-1: Establishing an industrial automation and control system security program</a:t>
            </a:r>
            <a:r>
              <a:rPr lang="en-GB" sz="1800" dirty="0"/>
              <a:t>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800" dirty="0"/>
              <a:t>IEC 62443-2-4:2019</a:t>
            </a:r>
          </a:p>
          <a:p>
            <a:pPr marL="964671" lvl="1" indent="-342900" algn="just">
              <a:buFont typeface="Wingdings" panose="05000000000000000000" pitchFamily="2" charset="2"/>
              <a:buChar char="§"/>
            </a:pPr>
            <a:r>
              <a:rPr lang="en-GB" sz="1800" i="1" dirty="0"/>
              <a:t>Security for industrial automation and control systems – Part 2-4: Security program requirements for IACS service providers</a:t>
            </a:r>
            <a:r>
              <a:rPr lang="en-GB" sz="1800" dirty="0"/>
              <a:t>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800" dirty="0"/>
              <a:t>IEC 62443-3-2:2020</a:t>
            </a:r>
          </a:p>
          <a:p>
            <a:pPr marL="964671" lvl="1" indent="-342900" algn="just">
              <a:buFont typeface="Wingdings" panose="05000000000000000000" pitchFamily="2" charset="2"/>
              <a:buChar char="§"/>
            </a:pPr>
            <a:r>
              <a:rPr lang="en-GB" sz="1800" i="1" dirty="0"/>
              <a:t>Security for industrial automation and control systems – Part 3-2: Security risk assessment for system design</a:t>
            </a:r>
            <a:r>
              <a:rPr lang="en-GB" sz="1800" dirty="0"/>
              <a:t>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800" dirty="0"/>
              <a:t>IEC 62443-3-3:2019</a:t>
            </a:r>
          </a:p>
          <a:p>
            <a:pPr marL="964671" lvl="1" indent="-342900" algn="just">
              <a:buFont typeface="Wingdings" panose="05000000000000000000" pitchFamily="2" charset="2"/>
              <a:buChar char="§"/>
            </a:pPr>
            <a:r>
              <a:rPr lang="en-GB" sz="1800" i="1" dirty="0"/>
              <a:t>Industrial communication networks – Network and system security – Part 3-3: System security requirements and security levels</a:t>
            </a:r>
            <a:r>
              <a:rPr lang="en-GB" sz="1800" dirty="0"/>
              <a:t>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800" dirty="0"/>
              <a:t>IEC 62443-4-1:2018</a:t>
            </a:r>
          </a:p>
          <a:p>
            <a:pPr marL="964671" lvl="1" indent="-342900" algn="just">
              <a:buFont typeface="Wingdings" panose="05000000000000000000" pitchFamily="2" charset="2"/>
              <a:buChar char="§"/>
            </a:pPr>
            <a:r>
              <a:rPr lang="en-GB" sz="1800" i="1" dirty="0"/>
              <a:t>Security for industrial automation and control systems – Part 4-1: Secure product development lifecycle requirements</a:t>
            </a:r>
            <a:r>
              <a:rPr lang="en-GB" sz="1800" dirty="0"/>
              <a:t>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800" dirty="0"/>
              <a:t>IEC 62443-4-2:2019</a:t>
            </a:r>
          </a:p>
          <a:p>
            <a:pPr marL="964671" lvl="1" indent="-342900" algn="just">
              <a:buFont typeface="Wingdings" panose="05000000000000000000" pitchFamily="2" charset="2"/>
              <a:buChar char="§"/>
            </a:pPr>
            <a:r>
              <a:rPr lang="en-GB" sz="1800" i="1" dirty="0"/>
              <a:t>Security for industrial automation and control systems – Part 4-2: Technical security requirements for IACS components</a:t>
            </a:r>
            <a:r>
              <a:rPr lang="en-GB" sz="1800" dirty="0"/>
              <a:t>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7A2CECB-4589-F8B3-804F-05BCBB895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ACS Security Standards</a:t>
            </a:r>
          </a:p>
        </p:txBody>
      </p:sp>
    </p:spTree>
    <p:extLst>
      <p:ext uri="{BB962C8B-B14F-4D97-AF65-F5344CB8AC3E}">
        <p14:creationId xmlns:p14="http://schemas.microsoft.com/office/powerpoint/2010/main" val="3915684585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2EE7F2B-38E9-588D-173A-D685A530BC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8DDEE-9A10-5758-8F09-3EE9586982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IEC 62443-2-1:TFDIS.</a:t>
            </a:r>
          </a:p>
          <a:p>
            <a:pPr marL="964671" lvl="1" indent="-342900" algn="just">
              <a:lnSpc>
                <a:spcPct val="80000"/>
              </a:lnSpc>
              <a:buFont typeface="Wingdings" panose="05000000000000000000" pitchFamily="2" charset="2"/>
              <a:buChar char="§"/>
            </a:pPr>
            <a:r>
              <a:rPr lang="en-GB" sz="1400" i="1" dirty="0"/>
              <a:t>Security for industrial automation and control systems – Part 2-1: Establishing an industrial automation and control system security program</a:t>
            </a:r>
            <a:r>
              <a:rPr lang="en-GB" sz="2200" dirty="0"/>
              <a:t>.</a:t>
            </a:r>
            <a:endParaRPr lang="en-GB" dirty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IEC 62443-2-2:CDM</a:t>
            </a:r>
          </a:p>
          <a:p>
            <a:pPr marL="964671" lvl="1" indent="-342900" algn="just">
              <a:buFont typeface="Wingdings" panose="05000000000000000000" pitchFamily="2" charset="2"/>
              <a:buChar char="§"/>
            </a:pPr>
            <a:r>
              <a:rPr lang="en-GB" sz="1400" i="1" dirty="0"/>
              <a:t>Security for industrial automation and control systems – Part 2-2: IACS Security Protection</a:t>
            </a:r>
            <a:r>
              <a:rPr lang="en-GB" sz="1400" dirty="0"/>
              <a:t>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IEC TS 62443-6-1:TDTS</a:t>
            </a:r>
          </a:p>
          <a:p>
            <a:pPr marL="964671" lvl="1" indent="-342900" algn="just">
              <a:buFont typeface="Wingdings" panose="05000000000000000000" pitchFamily="2" charset="2"/>
              <a:buChar char="§"/>
            </a:pPr>
            <a:r>
              <a:rPr lang="en-GB" sz="1400" i="1" dirty="0"/>
              <a:t>Security evaluation methodology for IEC 62443-2-4</a:t>
            </a:r>
            <a:r>
              <a:rPr lang="en-GB" sz="1400" dirty="0"/>
              <a:t>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IEC TS 62443-6-2:CDM</a:t>
            </a:r>
          </a:p>
          <a:p>
            <a:pPr marL="964671" lvl="1" indent="-342900" algn="just">
              <a:buFont typeface="Wingdings" panose="05000000000000000000" pitchFamily="2" charset="2"/>
              <a:buChar char="§"/>
            </a:pPr>
            <a:r>
              <a:rPr lang="en-GB" sz="1400" i="1" dirty="0"/>
              <a:t>Security evaluation methodology for IEC 62443-4-2</a:t>
            </a:r>
            <a:r>
              <a:rPr lang="en-GB" sz="1400" dirty="0"/>
              <a:t>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Basic Security Publication (2021)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2530DB-5BB4-E313-C228-821C44871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ACS Security Standards</a:t>
            </a:r>
          </a:p>
        </p:txBody>
      </p:sp>
    </p:spTree>
    <p:extLst>
      <p:ext uri="{BB962C8B-B14F-4D97-AF65-F5344CB8AC3E}">
        <p14:creationId xmlns:p14="http://schemas.microsoft.com/office/powerpoint/2010/main" val="2650356542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8D540AB-A9A7-4BCB-5875-FA4B92CC48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6701D6-7D70-B856-51B4-0C0E785AF09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Other OT guidance!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OG-0086 Edition 2 (</a:t>
            </a:r>
            <a:r>
              <a:rPr lang="en-GB" dirty="0">
                <a:hlinkClick r:id="rId3"/>
              </a:rPr>
              <a:t>https://www.hse.gov.uk/foi/internalops/og/og-0086.pdf</a:t>
            </a:r>
            <a:r>
              <a:rPr lang="en-GB" dirty="0"/>
              <a:t>)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Other OT guidance (e.g. The 61508 Association, IET Code of Practice)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EU Machinery Regulations (2 years, </a:t>
            </a:r>
            <a:r>
              <a:rPr lang="en-GB" i="1" dirty="0">
                <a:solidFill>
                  <a:schemeClr val="accent1"/>
                </a:solidFill>
              </a:rPr>
              <a:t>malicious 3</a:t>
            </a:r>
            <a:r>
              <a:rPr lang="en-GB" i="1" baseline="30000" dirty="0">
                <a:solidFill>
                  <a:schemeClr val="accent1"/>
                </a:solidFill>
              </a:rPr>
              <a:t>rd</a:t>
            </a:r>
            <a:r>
              <a:rPr lang="en-GB" i="1" dirty="0">
                <a:solidFill>
                  <a:schemeClr val="accent1"/>
                </a:solidFill>
              </a:rPr>
              <a:t> party actions</a:t>
            </a:r>
            <a:r>
              <a:rPr lang="en-GB" dirty="0"/>
              <a:t>) – please read it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dirty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dirty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dirty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1600" dirty="0"/>
              <a:t>Useful links…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1200" dirty="0">
                <a:hlinkClick r:id="rId4"/>
              </a:rPr>
              <a:t>https://www.61508.org/images/downloads/T6A032_Technical_Guide_-_Considerations_for_Cybersecurity_during_the_Safety_Lifecycle_V1_e112020.pdf</a:t>
            </a:r>
            <a:endParaRPr lang="en-GB" sz="1200" dirty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1200" dirty="0">
                <a:hlinkClick r:id="rId5"/>
              </a:rPr>
              <a:t>Code of Practice: Cyber Security and Safety (theiet.org)</a:t>
            </a:r>
            <a:endParaRPr lang="en-GB" sz="1200" dirty="0"/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283E47-4CC2-324B-17D3-B99A3E512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yber Security</a:t>
            </a:r>
          </a:p>
        </p:txBody>
      </p:sp>
    </p:spTree>
    <p:extLst>
      <p:ext uri="{BB962C8B-B14F-4D97-AF65-F5344CB8AC3E}">
        <p14:creationId xmlns:p14="http://schemas.microsoft.com/office/powerpoint/2010/main" val="697080467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640FAF8F-DFAC-F635-A5CF-4CB2FEE4411B}"/>
              </a:ext>
            </a:extLst>
          </p:cNvPr>
          <p:cNvSpPr/>
          <p:nvPr/>
        </p:nvSpPr>
        <p:spPr>
          <a:xfrm>
            <a:off x="5686075" y="485984"/>
            <a:ext cx="3701764" cy="499536"/>
          </a:xfrm>
          <a:prstGeom prst="rect">
            <a:avLst/>
          </a:prstGeom>
          <a:solidFill>
            <a:schemeClr val="tx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spc="0" normalizeH="0" baseline="0" dirty="0">
              <a:ln>
                <a:noFill/>
              </a:ln>
              <a:noFill/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cs typeface="Silka Medium"/>
              <a:sym typeface="Silka Medium"/>
            </a:endParaRPr>
          </a:p>
        </p:txBody>
      </p:sp>
      <p:pic>
        <p:nvPicPr>
          <p:cNvPr id="12" name="Picture Placeholder 11" descr="A picture containing green, outdoor&#10;&#10;Description automatically generated">
            <a:extLst>
              <a:ext uri="{FF2B5EF4-FFF2-40B4-BE49-F238E27FC236}">
                <a16:creationId xmlns:a16="http://schemas.microsoft.com/office/drawing/2014/main" id="{519F696F-CEAA-84E8-CD9F-F8CDB0013949}"/>
              </a:ext>
            </a:extLst>
          </p:cNvPr>
          <p:cNvPicPr>
            <a:picLocks noGrp="1" noChangeAspect="1"/>
          </p:cNvPicPr>
          <p:nvPr>
            <p:ph type="pic" sz="quarter" idx="34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D25F705-232E-FF6B-BBAC-DB1726256300}"/>
              </a:ext>
            </a:extLst>
          </p:cNvPr>
          <p:cNvSpPr/>
          <p:nvPr/>
        </p:nvSpPr>
        <p:spPr>
          <a:xfrm>
            <a:off x="0" y="-19346"/>
            <a:ext cx="5139266" cy="6858000"/>
          </a:xfrm>
          <a:prstGeom prst="rect">
            <a:avLst/>
          </a:prstGeom>
          <a:solidFill>
            <a:srgbClr val="000000">
              <a:alpha val="2000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spc="0" normalizeH="0" baseline="0" dirty="0">
              <a:ln>
                <a:noFill/>
              </a:ln>
              <a:noFill/>
              <a:effectLst/>
              <a:uFillTx/>
              <a:latin typeface="Source Sans Pro" panose="020B0503030403020204" pitchFamily="34" charset="0"/>
              <a:ea typeface="Source Sans Pro" panose="020B0503030403020204" pitchFamily="34" charset="0"/>
              <a:cs typeface="Silka Medium"/>
              <a:sym typeface="Silka Medium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C43232-5EC1-5AC2-8710-99ACEECF6B27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91AA824-ACB1-3A9B-E33E-E252D3C0B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9685" y="520097"/>
            <a:ext cx="6066436" cy="1216220"/>
          </a:xfrm>
        </p:spPr>
        <p:txBody>
          <a:bodyPr/>
          <a:lstStyle/>
          <a:p>
            <a:r>
              <a:rPr lang="en-US" sz="2400" dirty="0">
                <a:solidFill>
                  <a:schemeClr val="bg1"/>
                </a:solidFill>
              </a:rPr>
              <a:t>Trusted maritime advisers </a:t>
            </a:r>
            <a:br>
              <a:rPr lang="en-US" sz="2400" dirty="0">
                <a:solidFill>
                  <a:schemeClr val="bg1"/>
                </a:solidFill>
              </a:rPr>
            </a:br>
            <a:br>
              <a:rPr lang="en-US" sz="600" dirty="0">
                <a:solidFill>
                  <a:schemeClr val="bg1"/>
                </a:solidFill>
              </a:rPr>
            </a:br>
            <a:r>
              <a:rPr lang="en-US" sz="2400" dirty="0"/>
              <a:t>Partnering with clients to drive performance across the ocean economy</a:t>
            </a:r>
            <a:endParaRPr lang="en-GB" sz="2400" dirty="0"/>
          </a:p>
        </p:txBody>
      </p:sp>
      <p:pic>
        <p:nvPicPr>
          <p:cNvPr id="13" name="Picture 12" descr="A picture containing logo&#10;&#10;Description automatically generated">
            <a:extLst>
              <a:ext uri="{FF2B5EF4-FFF2-40B4-BE49-F238E27FC236}">
                <a16:creationId xmlns:a16="http://schemas.microsoft.com/office/drawing/2014/main" id="{9CDE0691-1BC0-26AB-1380-3DF11F0E698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47" y="-19346"/>
            <a:ext cx="4992371" cy="655172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A8C36DC-623A-69CE-2AD7-3866EDF814B1}"/>
              </a:ext>
            </a:extLst>
          </p:cNvPr>
          <p:cNvSpPr txBox="1"/>
          <p:nvPr/>
        </p:nvSpPr>
        <p:spPr>
          <a:xfrm>
            <a:off x="1584112" y="520097"/>
            <a:ext cx="1971040" cy="1661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en-GB" sz="1400" b="1" dirty="0"/>
              <a:t>Established more than </a:t>
            </a:r>
          </a:p>
          <a:p>
            <a:r>
              <a:rPr lang="en-GB" sz="3200" b="1" dirty="0"/>
              <a:t>260 years </a:t>
            </a:r>
            <a:endParaRPr lang="en-GB" sz="1400" b="1" dirty="0"/>
          </a:p>
          <a:p>
            <a:r>
              <a:rPr lang="en-GB" sz="1400" b="1" dirty="0"/>
              <a:t>ago as the world’s first marine classification society to improve the safety of ships. 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7BB4FB9-FEFD-84E6-9F8A-CD0183A6557B}"/>
              </a:ext>
            </a:extLst>
          </p:cNvPr>
          <p:cNvGrpSpPr/>
          <p:nvPr/>
        </p:nvGrpSpPr>
        <p:grpSpPr>
          <a:xfrm>
            <a:off x="5139262" y="4677725"/>
            <a:ext cx="5945297" cy="1698722"/>
            <a:chOff x="6955839" y="4211089"/>
            <a:chExt cx="5945297" cy="1698722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30DBB60-39A2-D65F-9B23-9F1464D61419}"/>
                </a:ext>
              </a:extLst>
            </p:cNvPr>
            <p:cNvSpPr txBox="1"/>
            <p:nvPr/>
          </p:nvSpPr>
          <p:spPr>
            <a:xfrm>
              <a:off x="6955839" y="4211089"/>
              <a:ext cx="5945297" cy="1695089"/>
            </a:xfrm>
            <a:prstGeom prst="rect">
              <a:avLst/>
            </a:prstGeom>
            <a:solidFill>
              <a:srgbClr val="E40069"/>
            </a:solidFill>
            <a:ln>
              <a:noFill/>
            </a:ln>
          </p:spPr>
          <p:txBody>
            <a:bodyPr wrap="square" lIns="1728000" tIns="0" rIns="180000" bIns="0" anchor="ctr" anchorCtr="0">
              <a:noAutofit/>
            </a:bodyPr>
            <a:lstStyle/>
            <a:p>
              <a:pPr>
                <a:spcBef>
                  <a:spcPts val="600"/>
                </a:spcBef>
              </a:pPr>
              <a:r>
                <a:rPr lang="en-GB" sz="2000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Times New Roman" panose="02020603050405020304" pitchFamily="18" charset="0"/>
                </a:rPr>
                <a:t>The Lloyd’s Register Foundation – LR’s social purpose</a:t>
              </a:r>
            </a:p>
            <a:p>
              <a:pPr>
                <a:spcBef>
                  <a:spcPts val="600"/>
                </a:spcBef>
              </a:pPr>
              <a:r>
                <a:rPr lang="en-GB" sz="2600" b="1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Times New Roman" panose="02020603050405020304" pitchFamily="18" charset="0"/>
                </a:rPr>
                <a:t>Engineering a safer world</a:t>
              </a:r>
            </a:p>
          </p:txBody>
        </p:sp>
        <p:pic>
          <p:nvPicPr>
            <p:cNvPr id="19" name="Picture 18" descr="Logo&#10;&#10;Description automatically generated">
              <a:extLst>
                <a:ext uri="{FF2B5EF4-FFF2-40B4-BE49-F238E27FC236}">
                  <a16:creationId xmlns:a16="http://schemas.microsoft.com/office/drawing/2014/main" id="{FDA5829C-89E7-A162-751F-39C952B889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7572" y="4214723"/>
              <a:ext cx="1370201" cy="1695088"/>
            </a:xfrm>
            <a:prstGeom prst="rect">
              <a:avLst/>
            </a:prstGeom>
          </p:spPr>
        </p:pic>
      </p:grpSp>
      <p:pic>
        <p:nvPicPr>
          <p:cNvPr id="21" name="Graphic 20">
            <a:extLst>
              <a:ext uri="{FF2B5EF4-FFF2-40B4-BE49-F238E27FC236}">
                <a16:creationId xmlns:a16="http://schemas.microsoft.com/office/drawing/2014/main" id="{C9D1094C-01A3-85E3-D181-58F3D6D931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19776" y="1782271"/>
            <a:ext cx="1440000" cy="144000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BDEA7B23-6C3E-3B29-FAB5-3BDF7E99BB0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46030" y="1782271"/>
            <a:ext cx="1440000" cy="144000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9A57976D-962C-5CDF-B10C-A1D37AB714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82903" y="1782271"/>
            <a:ext cx="1440000" cy="144000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6F029F55-6855-63DC-CCC0-916478CA1DE9}"/>
              </a:ext>
            </a:extLst>
          </p:cNvPr>
          <p:cNvSpPr txBox="1"/>
          <p:nvPr/>
        </p:nvSpPr>
        <p:spPr>
          <a:xfrm>
            <a:off x="5839776" y="3268225"/>
            <a:ext cx="1800000" cy="830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en-GB" sz="1600" b="1" dirty="0">
                <a:solidFill>
                  <a:schemeClr val="accent6"/>
                </a:solidFill>
              </a:rPr>
              <a:t>CLASSIFICATION, COMPLIANCE &amp; ASSURANCE</a:t>
            </a:r>
            <a:endParaRPr lang="en-GB" sz="1600" dirty="0">
              <a:solidFill>
                <a:schemeClr val="accent6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F2ED84B-FBF3-2690-A12D-B10802E71265}"/>
              </a:ext>
            </a:extLst>
          </p:cNvPr>
          <p:cNvSpPr txBox="1"/>
          <p:nvPr/>
        </p:nvSpPr>
        <p:spPr>
          <a:xfrm>
            <a:off x="7902903" y="3268225"/>
            <a:ext cx="1800000" cy="830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en-GB" sz="1600" b="1" dirty="0">
                <a:solidFill>
                  <a:schemeClr val="accent6"/>
                </a:solidFill>
              </a:rPr>
              <a:t>ADVISORY &amp; PERFORMANCE SERVICES</a:t>
            </a:r>
            <a:endParaRPr lang="en-GB" sz="1600" dirty="0">
              <a:solidFill>
                <a:schemeClr val="accent6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455B918-4926-FC2B-896F-68C0C3B8BE6B}"/>
              </a:ext>
            </a:extLst>
          </p:cNvPr>
          <p:cNvSpPr txBox="1"/>
          <p:nvPr/>
        </p:nvSpPr>
        <p:spPr>
          <a:xfrm>
            <a:off x="9966030" y="3268225"/>
            <a:ext cx="1800000" cy="830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ctr"/>
            <a:r>
              <a:rPr lang="en-GB" sz="1600" b="1" dirty="0">
                <a:solidFill>
                  <a:schemeClr val="accent6"/>
                </a:solidFill>
              </a:rPr>
              <a:t>INNOVATION &amp; DIGITAL SOLUTIONS</a:t>
            </a:r>
            <a:endParaRPr lang="en-GB" sz="16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9927365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C186598-19BD-4A5E-93DD-E852450B971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 defTabSz="855878">
              <a:defRPr/>
            </a:pPr>
            <a:fld id="{AD7FA855-72A0-4B3D-B621-3FFF22EC0BAF}" type="slidenum">
              <a:rPr lang="en-GB">
                <a:latin typeface="Source Sans Pro"/>
                <a:ea typeface="+mn-ea"/>
              </a:rPr>
              <a:pPr algn="r" defTabSz="855878">
                <a:defRPr/>
              </a:pPr>
              <a:t>16</a:t>
            </a:fld>
            <a:endParaRPr lang="en-GB">
              <a:latin typeface="Source Sans Pro"/>
              <a:ea typeface="+mn-ea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B074941-4BD0-48E9-AC5C-BF84534F68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855878">
              <a:defRPr/>
            </a:pPr>
            <a:r>
              <a:rPr lang="en-GB">
                <a:solidFill>
                  <a:schemeClr val="bg1"/>
                </a:solidFill>
                <a:latin typeface="Source Sans Pro"/>
              </a:rPr>
              <a:t>Lloyd's Regist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109E260-17D5-44C1-997B-D505D5736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fsho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BB86B08-F472-4238-B115-FFE19A669359}"/>
              </a:ext>
            </a:extLst>
          </p:cNvPr>
          <p:cNvSpPr txBox="1"/>
          <p:nvPr/>
        </p:nvSpPr>
        <p:spPr>
          <a:xfrm>
            <a:off x="652306" y="2966569"/>
            <a:ext cx="545703" cy="376021"/>
          </a:xfrm>
          <a:prstGeom prst="rect">
            <a:avLst/>
          </a:prstGeom>
          <a:noFill/>
          <a:ln w="12700">
            <a:noFill/>
          </a:ln>
        </p:spPr>
        <p:txBody>
          <a:bodyPr vert="horz" wrap="none" lIns="43200" tIns="21600" rIns="43200" bIns="21600" rtlCol="0" anchor="b" anchorCtr="0">
            <a:spAutoFit/>
          </a:bodyPr>
          <a:lstStyle/>
          <a:p>
            <a:pPr algn="ctr" defTabSz="855878">
              <a:lnSpc>
                <a:spcPct val="90000"/>
              </a:lnSpc>
              <a:defRPr/>
            </a:pPr>
            <a:r>
              <a:rPr lang="en-GB" sz="1200" b="1">
                <a:solidFill>
                  <a:srgbClr val="FFFFFF"/>
                </a:solidFill>
                <a:latin typeface="Source Sans Pro"/>
              </a:rPr>
              <a:t>Gas</a:t>
            </a:r>
            <a:br>
              <a:rPr lang="en-GB" sz="1200" b="1">
                <a:solidFill>
                  <a:srgbClr val="FFFFFF"/>
                </a:solidFill>
                <a:latin typeface="Source Sans Pro"/>
              </a:rPr>
            </a:br>
            <a:r>
              <a:rPr lang="en-GB" sz="1200" b="1">
                <a:solidFill>
                  <a:srgbClr val="FFFFFF"/>
                </a:solidFill>
                <a:latin typeface="Source Sans Pro"/>
              </a:rPr>
              <a:t>carri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2D8997-F0E4-44C7-AA38-0DD0E010D406}"/>
              </a:ext>
            </a:extLst>
          </p:cNvPr>
          <p:cNvSpPr txBox="1"/>
          <p:nvPr/>
        </p:nvSpPr>
        <p:spPr>
          <a:xfrm>
            <a:off x="1809629" y="2966569"/>
            <a:ext cx="646691" cy="376021"/>
          </a:xfrm>
          <a:prstGeom prst="rect">
            <a:avLst/>
          </a:prstGeom>
          <a:noFill/>
          <a:ln w="12700">
            <a:noFill/>
          </a:ln>
        </p:spPr>
        <p:txBody>
          <a:bodyPr vert="horz" wrap="none" lIns="43200" tIns="21600" rIns="43200" bIns="21600" rtlCol="0" anchor="b" anchorCtr="0">
            <a:spAutoFit/>
          </a:bodyPr>
          <a:lstStyle/>
          <a:p>
            <a:pPr algn="ctr" defTabSz="855878">
              <a:lnSpc>
                <a:spcPct val="90000"/>
              </a:lnSpc>
              <a:defRPr/>
            </a:pPr>
            <a:r>
              <a:rPr lang="en-GB" sz="1200" b="1">
                <a:solidFill>
                  <a:srgbClr val="FFFFFF"/>
                </a:solidFill>
                <a:latin typeface="Source Sans Pro"/>
              </a:rPr>
              <a:t>Tanker </a:t>
            </a:r>
            <a:br>
              <a:rPr lang="en-GB" sz="1200" b="1">
                <a:solidFill>
                  <a:srgbClr val="FFFFFF"/>
                </a:solidFill>
                <a:latin typeface="Source Sans Pro"/>
              </a:rPr>
            </a:br>
            <a:r>
              <a:rPr lang="en-GB" sz="1200" b="1">
                <a:solidFill>
                  <a:srgbClr val="FFFFFF"/>
                </a:solidFill>
                <a:latin typeface="Source Sans Pro"/>
              </a:rPr>
              <a:t>and FSO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70BC4F-AF60-4215-9E5C-68FB16559E88}"/>
              </a:ext>
            </a:extLst>
          </p:cNvPr>
          <p:cNvSpPr txBox="1"/>
          <p:nvPr/>
        </p:nvSpPr>
        <p:spPr>
          <a:xfrm>
            <a:off x="2812436" y="2800370"/>
            <a:ext cx="964931" cy="54222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43200" tIns="21600" rIns="43200" bIns="21600" rtlCol="0" anchor="b" anchorCtr="0">
            <a:spAutoFit/>
          </a:bodyPr>
          <a:lstStyle/>
          <a:p>
            <a:pPr algn="ctr" defTabSz="855878">
              <a:lnSpc>
                <a:spcPct val="90000"/>
              </a:lnSpc>
              <a:defRPr/>
            </a:pPr>
            <a:r>
              <a:rPr lang="en-GB" sz="1200" b="1">
                <a:solidFill>
                  <a:srgbClr val="FFFFFF"/>
                </a:solidFill>
                <a:latin typeface="Source Sans Pro"/>
              </a:rPr>
              <a:t>OSV and construction vess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433F2E-CE13-40A7-994E-377FB83CB2D8}"/>
              </a:ext>
            </a:extLst>
          </p:cNvPr>
          <p:cNvSpPr txBox="1"/>
          <p:nvPr/>
        </p:nvSpPr>
        <p:spPr>
          <a:xfrm>
            <a:off x="4125650" y="2966569"/>
            <a:ext cx="768519" cy="376021"/>
          </a:xfrm>
          <a:prstGeom prst="rect">
            <a:avLst/>
          </a:prstGeom>
          <a:noFill/>
          <a:ln w="12700">
            <a:noFill/>
          </a:ln>
        </p:spPr>
        <p:txBody>
          <a:bodyPr vert="horz" wrap="none" lIns="43200" tIns="21600" rIns="43200" bIns="21600" rtlCol="0" anchor="b" anchorCtr="0">
            <a:spAutoFit/>
          </a:bodyPr>
          <a:lstStyle/>
          <a:p>
            <a:pPr algn="ctr" defTabSz="855878">
              <a:lnSpc>
                <a:spcPct val="90000"/>
              </a:lnSpc>
              <a:defRPr/>
            </a:pPr>
            <a:r>
              <a:rPr lang="en-GB" sz="1200" b="1">
                <a:solidFill>
                  <a:srgbClr val="FFFFFF"/>
                </a:solidFill>
                <a:latin typeface="Source Sans Pro"/>
              </a:rPr>
              <a:t>FPSO and </a:t>
            </a:r>
            <a:br>
              <a:rPr lang="en-GB" sz="1200" b="1">
                <a:solidFill>
                  <a:srgbClr val="FFFFFF"/>
                </a:solidFill>
                <a:latin typeface="Source Sans Pro"/>
              </a:rPr>
            </a:br>
            <a:r>
              <a:rPr lang="en-GB" sz="1200" b="1">
                <a:solidFill>
                  <a:srgbClr val="FFFFFF"/>
                </a:solidFill>
                <a:latin typeface="Source Sans Pro"/>
              </a:rPr>
              <a:t>FL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C0FFED-51D5-4F1D-B38D-FC34CE80FD23}"/>
              </a:ext>
            </a:extLst>
          </p:cNvPr>
          <p:cNvSpPr txBox="1"/>
          <p:nvPr/>
        </p:nvSpPr>
        <p:spPr>
          <a:xfrm>
            <a:off x="4929409" y="2966569"/>
            <a:ext cx="681957" cy="376021"/>
          </a:xfrm>
          <a:prstGeom prst="rect">
            <a:avLst/>
          </a:prstGeom>
          <a:noFill/>
          <a:ln w="12700">
            <a:noFill/>
          </a:ln>
        </p:spPr>
        <p:txBody>
          <a:bodyPr vert="horz" wrap="none" lIns="43200" tIns="21600" rIns="43200" bIns="21600" rtlCol="0" anchor="b" anchorCtr="0">
            <a:spAutoFit/>
          </a:bodyPr>
          <a:lstStyle/>
          <a:p>
            <a:pPr algn="ctr" defTabSz="855878">
              <a:lnSpc>
                <a:spcPct val="90000"/>
              </a:lnSpc>
              <a:defRPr/>
            </a:pPr>
            <a:r>
              <a:rPr lang="en-GB" sz="1200" b="1">
                <a:solidFill>
                  <a:srgbClr val="FFFFFF"/>
                </a:solidFill>
                <a:latin typeface="Source Sans Pro"/>
              </a:rPr>
              <a:t>Offshore</a:t>
            </a:r>
            <a:br>
              <a:rPr lang="en-GB" sz="1200" b="1">
                <a:solidFill>
                  <a:srgbClr val="FFFFFF"/>
                </a:solidFill>
                <a:latin typeface="Source Sans Pro"/>
              </a:rPr>
            </a:br>
            <a:r>
              <a:rPr lang="en-GB" sz="1200" b="1">
                <a:solidFill>
                  <a:srgbClr val="FFFFFF"/>
                </a:solidFill>
                <a:latin typeface="Source Sans Pro"/>
              </a:rPr>
              <a:t>win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7A38E8-7F33-40AA-94C6-29D888B71027}"/>
              </a:ext>
            </a:extLst>
          </p:cNvPr>
          <p:cNvSpPr txBox="1"/>
          <p:nvPr/>
        </p:nvSpPr>
        <p:spPr>
          <a:xfrm>
            <a:off x="5670449" y="2966569"/>
            <a:ext cx="455934" cy="376021"/>
          </a:xfrm>
          <a:prstGeom prst="rect">
            <a:avLst/>
          </a:prstGeom>
          <a:noFill/>
          <a:ln w="12700">
            <a:noFill/>
          </a:ln>
        </p:spPr>
        <p:txBody>
          <a:bodyPr vert="horz" wrap="none" lIns="43200" tIns="21600" rIns="43200" bIns="21600" rtlCol="0" anchor="b" anchorCtr="0">
            <a:spAutoFit/>
          </a:bodyPr>
          <a:lstStyle/>
          <a:p>
            <a:pPr algn="ctr" defTabSz="855878">
              <a:lnSpc>
                <a:spcPct val="90000"/>
              </a:lnSpc>
              <a:defRPr/>
            </a:pPr>
            <a:r>
              <a:rPr lang="en-GB" sz="1200" b="1">
                <a:solidFill>
                  <a:srgbClr val="FFFFFF"/>
                </a:solidFill>
                <a:latin typeface="Source Sans Pro"/>
              </a:rPr>
              <a:t>Fixed</a:t>
            </a:r>
            <a:br>
              <a:rPr lang="en-GB" sz="1200" b="1">
                <a:solidFill>
                  <a:srgbClr val="FFFFFF"/>
                </a:solidFill>
                <a:latin typeface="Source Sans Pro"/>
              </a:rPr>
            </a:br>
            <a:r>
              <a:rPr lang="en-GB" sz="1200" b="1">
                <a:solidFill>
                  <a:srgbClr val="FFFFFF"/>
                </a:solidFill>
                <a:latin typeface="Source Sans Pro"/>
              </a:rPr>
              <a:t>uni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CB4924-A3EA-4B4A-BB0D-912D19B4C8D3}"/>
              </a:ext>
            </a:extLst>
          </p:cNvPr>
          <p:cNvSpPr txBox="1"/>
          <p:nvPr/>
        </p:nvSpPr>
        <p:spPr>
          <a:xfrm>
            <a:off x="6320514" y="2966569"/>
            <a:ext cx="829434" cy="376021"/>
          </a:xfrm>
          <a:prstGeom prst="rect">
            <a:avLst/>
          </a:prstGeom>
          <a:noFill/>
          <a:ln w="12700">
            <a:noFill/>
          </a:ln>
        </p:spPr>
        <p:txBody>
          <a:bodyPr vert="horz" wrap="none" lIns="43200" tIns="21600" rIns="43200" bIns="21600" rtlCol="0" anchor="b" anchorCtr="0">
            <a:spAutoFit/>
          </a:bodyPr>
          <a:lstStyle/>
          <a:p>
            <a:pPr algn="ctr" defTabSz="855878">
              <a:lnSpc>
                <a:spcPct val="90000"/>
              </a:lnSpc>
              <a:defRPr/>
            </a:pPr>
            <a:r>
              <a:rPr lang="en-GB" sz="1200" b="1">
                <a:solidFill>
                  <a:srgbClr val="FFFFFF"/>
                </a:solidFill>
                <a:latin typeface="Source Sans Pro"/>
              </a:rPr>
              <a:t>MODU and </a:t>
            </a:r>
            <a:br>
              <a:rPr lang="en-GB" sz="1200" b="1">
                <a:solidFill>
                  <a:srgbClr val="FFFFFF"/>
                </a:solidFill>
                <a:latin typeface="Source Sans Pro"/>
              </a:rPr>
            </a:br>
            <a:r>
              <a:rPr lang="en-GB" sz="1200" b="1">
                <a:solidFill>
                  <a:srgbClr val="FFFFFF"/>
                </a:solidFill>
                <a:latin typeface="Source Sans Pro"/>
              </a:rPr>
              <a:t>MOPU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B61E101-8288-4A94-93B8-FEE089A87F7F}"/>
              </a:ext>
            </a:extLst>
          </p:cNvPr>
          <p:cNvSpPr txBox="1"/>
          <p:nvPr/>
        </p:nvSpPr>
        <p:spPr>
          <a:xfrm>
            <a:off x="8227806" y="3132770"/>
            <a:ext cx="479980" cy="209821"/>
          </a:xfrm>
          <a:prstGeom prst="rect">
            <a:avLst/>
          </a:prstGeom>
          <a:noFill/>
          <a:ln w="12700">
            <a:noFill/>
          </a:ln>
        </p:spPr>
        <p:txBody>
          <a:bodyPr vert="horz" wrap="none" lIns="43200" tIns="21600" rIns="43200" bIns="21600" rtlCol="0" anchor="b" anchorCtr="0">
            <a:spAutoFit/>
          </a:bodyPr>
          <a:lstStyle/>
          <a:p>
            <a:pPr algn="ctr" defTabSz="855878">
              <a:lnSpc>
                <a:spcPct val="90000"/>
              </a:lnSpc>
              <a:defRPr/>
            </a:pPr>
            <a:r>
              <a:rPr lang="en-GB" sz="1200" b="1">
                <a:solidFill>
                  <a:srgbClr val="FFFFFF"/>
                </a:solidFill>
                <a:latin typeface="Source Sans Pro"/>
              </a:rPr>
              <a:t>FSRU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D8243F-3F80-4FF5-9F88-59EA8CC6EE24}"/>
              </a:ext>
            </a:extLst>
          </p:cNvPr>
          <p:cNvSpPr txBox="1"/>
          <p:nvPr/>
        </p:nvSpPr>
        <p:spPr>
          <a:xfrm>
            <a:off x="7953807" y="4509120"/>
            <a:ext cx="544472" cy="216024"/>
          </a:xfrm>
          <a:prstGeom prst="round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855878">
              <a:defRPr/>
            </a:pPr>
            <a:r>
              <a:rPr lang="en-GB" sz="960" b="1">
                <a:solidFill>
                  <a:srgbClr val="FFFFFF"/>
                </a:solidFill>
                <a:latin typeface="Source Sans Pro"/>
              </a:rPr>
              <a:t>Pipelin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F568ED-FF3C-4A33-B6A7-3A96138E9D8E}"/>
              </a:ext>
            </a:extLst>
          </p:cNvPr>
          <p:cNvSpPr txBox="1"/>
          <p:nvPr/>
        </p:nvSpPr>
        <p:spPr>
          <a:xfrm>
            <a:off x="9649672" y="2494749"/>
            <a:ext cx="893554" cy="376021"/>
          </a:xfrm>
          <a:prstGeom prst="rect">
            <a:avLst/>
          </a:prstGeom>
          <a:noFill/>
          <a:ln w="12700">
            <a:noFill/>
          </a:ln>
        </p:spPr>
        <p:txBody>
          <a:bodyPr vert="horz" wrap="none" lIns="43200" tIns="21600" rIns="43200" bIns="21600" rtlCol="0" anchor="b" anchorCtr="0">
            <a:spAutoFit/>
          </a:bodyPr>
          <a:lstStyle/>
          <a:p>
            <a:pPr algn="ctr" defTabSz="855878">
              <a:lnSpc>
                <a:spcPct val="90000"/>
              </a:lnSpc>
              <a:defRPr/>
            </a:pPr>
            <a:r>
              <a:rPr lang="en-GB" sz="1200" b="1">
                <a:solidFill>
                  <a:srgbClr val="FFFFFF"/>
                </a:solidFill>
                <a:latin typeface="Source Sans Pro"/>
              </a:rPr>
              <a:t>Land based </a:t>
            </a:r>
            <a:br>
              <a:rPr lang="en-GB" sz="1200" b="1">
                <a:solidFill>
                  <a:srgbClr val="FFFFFF"/>
                </a:solidFill>
                <a:latin typeface="Source Sans Pro"/>
              </a:rPr>
            </a:br>
            <a:r>
              <a:rPr lang="en-GB" sz="1200" b="1">
                <a:solidFill>
                  <a:srgbClr val="FFFFFF"/>
                </a:solidFill>
                <a:latin typeface="Source Sans Pro"/>
              </a:rPr>
              <a:t>facil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8C9A216-A36F-446B-BE56-92C5B41EDE19}"/>
              </a:ext>
            </a:extLst>
          </p:cNvPr>
          <p:cNvSpPr txBox="1"/>
          <p:nvPr/>
        </p:nvSpPr>
        <p:spPr>
          <a:xfrm>
            <a:off x="10980504" y="2494749"/>
            <a:ext cx="834243" cy="376021"/>
          </a:xfrm>
          <a:prstGeom prst="rect">
            <a:avLst/>
          </a:prstGeom>
          <a:noFill/>
          <a:ln w="12700">
            <a:noFill/>
          </a:ln>
        </p:spPr>
        <p:txBody>
          <a:bodyPr vert="horz" wrap="none" lIns="43200" tIns="21600" rIns="43200" bIns="21600" rtlCol="0" anchor="b" anchorCtr="0">
            <a:spAutoFit/>
          </a:bodyPr>
          <a:lstStyle/>
          <a:p>
            <a:pPr algn="ctr" defTabSz="855878">
              <a:lnSpc>
                <a:spcPct val="90000"/>
              </a:lnSpc>
              <a:defRPr/>
            </a:pPr>
            <a:r>
              <a:rPr lang="en-GB" sz="1200" b="1">
                <a:solidFill>
                  <a:srgbClr val="FFFFFF"/>
                </a:solidFill>
                <a:latin typeface="Source Sans Pro"/>
              </a:rPr>
              <a:t>Power </a:t>
            </a:r>
            <a:br>
              <a:rPr lang="en-GB" sz="1200" b="1">
                <a:solidFill>
                  <a:srgbClr val="FFFFFF"/>
                </a:solidFill>
                <a:latin typeface="Source Sans Pro"/>
              </a:rPr>
            </a:br>
            <a:r>
              <a:rPr lang="en-GB" sz="1200" b="1">
                <a:solidFill>
                  <a:srgbClr val="FFFFFF"/>
                </a:solidFill>
                <a:latin typeface="Source Sans Pro"/>
              </a:rPr>
              <a:t>genera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872499D-26F3-4049-89C5-AE1CEE18FECA}"/>
              </a:ext>
            </a:extLst>
          </p:cNvPr>
          <p:cNvSpPr txBox="1"/>
          <p:nvPr/>
        </p:nvSpPr>
        <p:spPr>
          <a:xfrm>
            <a:off x="1516290" y="5632445"/>
            <a:ext cx="561600" cy="216024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855878">
              <a:defRPr/>
            </a:pPr>
            <a:r>
              <a:rPr lang="en-GB" sz="1200" b="1">
                <a:solidFill>
                  <a:srgbClr val="FFFFFF"/>
                </a:solidFill>
                <a:latin typeface="Source Sans Pro"/>
              </a:rPr>
              <a:t>Subsea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76DDB87-CECB-4EA6-B265-690BB10ADD65}"/>
              </a:ext>
            </a:extLst>
          </p:cNvPr>
          <p:cNvSpPr txBox="1"/>
          <p:nvPr/>
        </p:nvSpPr>
        <p:spPr>
          <a:xfrm>
            <a:off x="5361519" y="6280517"/>
            <a:ext cx="993710" cy="302434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855878">
              <a:defRPr/>
            </a:pPr>
            <a:r>
              <a:rPr lang="en-GB" sz="1200" b="1">
                <a:solidFill>
                  <a:srgbClr val="FFFFFF"/>
                </a:solidFill>
                <a:latin typeface="Source Sans Pro"/>
              </a:rPr>
              <a:t>Field developmen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1FDAB7E-3105-4834-8599-7AE555B1FACB}"/>
              </a:ext>
            </a:extLst>
          </p:cNvPr>
          <p:cNvCxnSpPr>
            <a:cxnSpLocks/>
          </p:cNvCxnSpPr>
          <p:nvPr/>
        </p:nvCxnSpPr>
        <p:spPr>
          <a:xfrm flipV="1">
            <a:off x="929626" y="3342590"/>
            <a:ext cx="0" cy="648000"/>
          </a:xfrm>
          <a:prstGeom prst="line">
            <a:avLst/>
          </a:prstGeom>
          <a:ln w="3175" cap="rnd">
            <a:solidFill>
              <a:schemeClr val="bg1"/>
            </a:solidFill>
            <a:round/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EF7CF6F-04ED-4286-8E6B-116602D9644E}"/>
              </a:ext>
            </a:extLst>
          </p:cNvPr>
          <p:cNvCxnSpPr>
            <a:cxnSpLocks/>
          </p:cNvCxnSpPr>
          <p:nvPr/>
        </p:nvCxnSpPr>
        <p:spPr>
          <a:xfrm flipV="1">
            <a:off x="2137442" y="3342590"/>
            <a:ext cx="0" cy="648000"/>
          </a:xfrm>
          <a:prstGeom prst="line">
            <a:avLst/>
          </a:prstGeom>
          <a:ln w="3175" cap="rnd">
            <a:solidFill>
              <a:schemeClr val="bg1"/>
            </a:solidFill>
            <a:round/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C65E8C9-4FB8-4CC0-8A55-23C9B8AF0A1F}"/>
              </a:ext>
            </a:extLst>
          </p:cNvPr>
          <p:cNvCxnSpPr>
            <a:cxnSpLocks/>
          </p:cNvCxnSpPr>
          <p:nvPr/>
        </p:nvCxnSpPr>
        <p:spPr>
          <a:xfrm flipV="1">
            <a:off x="3291872" y="3342590"/>
            <a:ext cx="0" cy="648000"/>
          </a:xfrm>
          <a:prstGeom prst="line">
            <a:avLst/>
          </a:prstGeom>
          <a:ln w="3175" cap="rnd">
            <a:solidFill>
              <a:schemeClr val="bg1"/>
            </a:solidFill>
            <a:round/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8C3082A-30C5-46E8-9261-91C6EB1037F9}"/>
              </a:ext>
            </a:extLst>
          </p:cNvPr>
          <p:cNvCxnSpPr>
            <a:cxnSpLocks/>
          </p:cNvCxnSpPr>
          <p:nvPr/>
        </p:nvCxnSpPr>
        <p:spPr>
          <a:xfrm flipV="1">
            <a:off x="4514377" y="3342590"/>
            <a:ext cx="0" cy="388800"/>
          </a:xfrm>
          <a:prstGeom prst="line">
            <a:avLst/>
          </a:prstGeom>
          <a:ln w="3175" cap="rnd">
            <a:solidFill>
              <a:schemeClr val="bg1"/>
            </a:solidFill>
            <a:round/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5D09637-8BE4-4EA5-B2DF-DAAFF017A9F3}"/>
              </a:ext>
            </a:extLst>
          </p:cNvPr>
          <p:cNvCxnSpPr>
            <a:cxnSpLocks/>
          </p:cNvCxnSpPr>
          <p:nvPr/>
        </p:nvCxnSpPr>
        <p:spPr>
          <a:xfrm flipV="1">
            <a:off x="5274857" y="3342590"/>
            <a:ext cx="0" cy="172800"/>
          </a:xfrm>
          <a:prstGeom prst="line">
            <a:avLst/>
          </a:prstGeom>
          <a:ln w="3175" cap="rnd">
            <a:solidFill>
              <a:schemeClr val="bg1"/>
            </a:solidFill>
            <a:round/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52251F3-B415-488A-BAD5-8D7F73497764}"/>
              </a:ext>
            </a:extLst>
          </p:cNvPr>
          <p:cNvCxnSpPr>
            <a:cxnSpLocks/>
          </p:cNvCxnSpPr>
          <p:nvPr/>
        </p:nvCxnSpPr>
        <p:spPr>
          <a:xfrm flipV="1">
            <a:off x="5902884" y="3342590"/>
            <a:ext cx="0" cy="172800"/>
          </a:xfrm>
          <a:prstGeom prst="line">
            <a:avLst/>
          </a:prstGeom>
          <a:ln w="3175" cap="rnd">
            <a:solidFill>
              <a:schemeClr val="bg1"/>
            </a:solidFill>
            <a:round/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874C565-DC71-4F42-A678-8801850D3C0A}"/>
              </a:ext>
            </a:extLst>
          </p:cNvPr>
          <p:cNvCxnSpPr>
            <a:cxnSpLocks/>
          </p:cNvCxnSpPr>
          <p:nvPr/>
        </p:nvCxnSpPr>
        <p:spPr>
          <a:xfrm flipV="1">
            <a:off x="6739699" y="3342590"/>
            <a:ext cx="0" cy="63550"/>
          </a:xfrm>
          <a:prstGeom prst="line">
            <a:avLst/>
          </a:prstGeom>
          <a:ln w="3175" cap="rnd">
            <a:solidFill>
              <a:schemeClr val="bg1"/>
            </a:solidFill>
            <a:round/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848CF2C-B90F-4938-80C7-6955EA46B7E2}"/>
              </a:ext>
            </a:extLst>
          </p:cNvPr>
          <p:cNvCxnSpPr>
            <a:cxnSpLocks/>
          </p:cNvCxnSpPr>
          <p:nvPr/>
        </p:nvCxnSpPr>
        <p:spPr>
          <a:xfrm flipV="1">
            <a:off x="8472264" y="3342590"/>
            <a:ext cx="0" cy="518458"/>
          </a:xfrm>
          <a:prstGeom prst="line">
            <a:avLst/>
          </a:prstGeom>
          <a:ln w="3175" cap="rnd">
            <a:solidFill>
              <a:schemeClr val="bg1"/>
            </a:solidFill>
            <a:round/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14490D7-37A5-4E77-9A22-B3D71D96CFA1}"/>
              </a:ext>
            </a:extLst>
          </p:cNvPr>
          <p:cNvCxnSpPr>
            <a:cxnSpLocks/>
          </p:cNvCxnSpPr>
          <p:nvPr/>
        </p:nvCxnSpPr>
        <p:spPr>
          <a:xfrm flipV="1">
            <a:off x="10096447" y="2884405"/>
            <a:ext cx="0" cy="345600"/>
          </a:xfrm>
          <a:prstGeom prst="line">
            <a:avLst/>
          </a:prstGeom>
          <a:ln w="3175" cap="rnd">
            <a:solidFill>
              <a:schemeClr val="bg1"/>
            </a:solidFill>
            <a:round/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F13C09A-06E9-4F11-905E-0517C929936B}"/>
              </a:ext>
            </a:extLst>
          </p:cNvPr>
          <p:cNvCxnSpPr>
            <a:cxnSpLocks/>
          </p:cNvCxnSpPr>
          <p:nvPr/>
        </p:nvCxnSpPr>
        <p:spPr>
          <a:xfrm flipV="1">
            <a:off x="11397624" y="2884405"/>
            <a:ext cx="0" cy="345600"/>
          </a:xfrm>
          <a:prstGeom prst="line">
            <a:avLst/>
          </a:prstGeom>
          <a:ln w="3175" cap="rnd">
            <a:solidFill>
              <a:schemeClr val="bg1"/>
            </a:solidFill>
            <a:round/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9179925B-9AF3-4DC2-B223-5D98134BBA12}"/>
              </a:ext>
            </a:extLst>
          </p:cNvPr>
          <p:cNvSpPr txBox="1"/>
          <p:nvPr/>
        </p:nvSpPr>
        <p:spPr>
          <a:xfrm>
            <a:off x="3223346" y="5567638"/>
            <a:ext cx="964927" cy="137837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855878">
              <a:defRPr/>
            </a:pPr>
            <a:r>
              <a:rPr lang="en-GB" sz="1200" b="1" dirty="0">
                <a:solidFill>
                  <a:srgbClr val="FFFFFF"/>
                </a:solidFill>
                <a:latin typeface="Source Sans Pro"/>
              </a:rPr>
              <a:t>Subsea infrastructur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D22A79C-4FEC-4311-A6B3-AB0265F91B48}"/>
              </a:ext>
            </a:extLst>
          </p:cNvPr>
          <p:cNvSpPr txBox="1"/>
          <p:nvPr/>
        </p:nvSpPr>
        <p:spPr>
          <a:xfrm>
            <a:off x="4370624" y="4811554"/>
            <a:ext cx="457021" cy="216024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855878">
              <a:defRPr/>
            </a:pPr>
            <a:r>
              <a:rPr lang="en-GB" sz="1200" b="1">
                <a:solidFill>
                  <a:srgbClr val="FFFFFF"/>
                </a:solidFill>
                <a:latin typeface="Source Sans Pro"/>
              </a:rPr>
              <a:t>Riser</a:t>
            </a:r>
          </a:p>
        </p:txBody>
      </p:sp>
      <p:sp>
        <p:nvSpPr>
          <p:cNvPr id="37" name="Content Placeholder 7">
            <a:extLst>
              <a:ext uri="{FF2B5EF4-FFF2-40B4-BE49-F238E27FC236}">
                <a16:creationId xmlns:a16="http://schemas.microsoft.com/office/drawing/2014/main" id="{AAADF112-AABC-4E5C-BCFB-406315D790F1}"/>
              </a:ext>
            </a:extLst>
          </p:cNvPr>
          <p:cNvSpPr txBox="1">
            <a:spLocks/>
          </p:cNvSpPr>
          <p:nvPr/>
        </p:nvSpPr>
        <p:spPr>
          <a:xfrm>
            <a:off x="478157" y="1311965"/>
            <a:ext cx="7475650" cy="983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176213" indent="-176213" algn="l" defTabSz="1015990" rtl="0" eaLnBrk="1" latinLnBrk="0" hangingPunct="1">
              <a:lnSpc>
                <a:spcPct val="100000"/>
              </a:lnSpc>
              <a:spcBef>
                <a:spcPts val="1111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1015990" rtl="0" eaLnBrk="1" latinLnBrk="0" hangingPunct="1">
              <a:lnSpc>
                <a:spcPct val="100000"/>
              </a:lnSpc>
              <a:spcBef>
                <a:spcPts val="556"/>
              </a:spcBef>
              <a:buClr>
                <a:schemeClr val="tx2"/>
              </a:buClr>
              <a:buFont typeface="Source Sans Pro" panose="020B0503030403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1015990" rtl="0" eaLnBrk="1" latinLnBrk="0" hangingPunct="1">
              <a:lnSpc>
                <a:spcPct val="100000"/>
              </a:lnSpc>
              <a:spcBef>
                <a:spcPts val="556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6213" algn="l" defTabSz="1015990" rtl="0" eaLnBrk="1" latinLnBrk="0" hangingPunct="1">
              <a:lnSpc>
                <a:spcPct val="100000"/>
              </a:lnSpc>
              <a:spcBef>
                <a:spcPts val="556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4150" algn="l" defTabSz="1015990" rtl="0" eaLnBrk="1" latinLnBrk="0" hangingPunct="1">
              <a:lnSpc>
                <a:spcPct val="100000"/>
              </a:lnSpc>
              <a:spcBef>
                <a:spcPts val="556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93972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67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962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957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88">
              <a:spcBef>
                <a:spcPts val="1333"/>
              </a:spcBef>
              <a:buClr>
                <a:srgbClr val="3B8EDE"/>
              </a:buClr>
              <a:buNone/>
              <a:defRPr/>
            </a:pPr>
            <a:endParaRPr lang="en-GB" sz="1920">
              <a:solidFill>
                <a:srgbClr val="000000"/>
              </a:solidFill>
              <a:latin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968081389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B1D61C-FED9-3447-815F-BED31CB26461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b="1" dirty="0"/>
              <a:t>Contact details:</a:t>
            </a:r>
          </a:p>
          <a:p>
            <a:r>
              <a:rPr lang="en-US" dirty="0"/>
              <a:t>Peter Brown – Functional Safety &amp; Systems</a:t>
            </a:r>
          </a:p>
          <a:p>
            <a:r>
              <a:rPr lang="en-US" dirty="0">
                <a:hlinkClick r:id="rId2"/>
              </a:rPr>
              <a:t>pete.brown@lr.org</a:t>
            </a:r>
            <a:endParaRPr lang="en-US" dirty="0"/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6453C26-0B94-B74B-98EE-491DB7DCF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758194549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97FD2FF-DD95-FA5C-6342-B57C8670201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D5ACC2-34E4-1C14-3287-9BA366E308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F6BF25-5701-18DE-32C0-8521CFC1E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yclic Communication, CSMA/CD, CSMA/CA, TSN</a:t>
            </a:r>
          </a:p>
        </p:txBody>
      </p:sp>
      <p:pic>
        <p:nvPicPr>
          <p:cNvPr id="5" name="Picture 4" descr="X:\Grafiken\Icons\150dpi\008_SAFTEY_TECHNOLOGY_150dpi_PNG\008_PNO_Icon_Safety_Technology_Saftey_CPU.png">
            <a:extLst>
              <a:ext uri="{FF2B5EF4-FFF2-40B4-BE49-F238E27FC236}">
                <a16:creationId xmlns:a16="http://schemas.microsoft.com/office/drawing/2014/main" id="{43F577DD-B20E-6EB3-65AC-983D889266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8213" y="1879768"/>
            <a:ext cx="1347787" cy="122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7" descr="X:\Grafiken\Icons\150dpi\008_SAFTEY_TECHNOLOGY_150dpi_PNG\008_PNO_Icon_Safety_Technology_Saftey_IO_modular.png">
            <a:extLst>
              <a:ext uri="{FF2B5EF4-FFF2-40B4-BE49-F238E27FC236}">
                <a16:creationId xmlns:a16="http://schemas.microsoft.com/office/drawing/2014/main" id="{33ECFE92-5481-23B8-4613-7B88A51113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3433" y="4094168"/>
            <a:ext cx="1122363" cy="122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5" descr="X:\Grafiken\Icons\150dpi\008_SAFTEY_TECHNOLOGY_150dpi_PNG\008_PNO_Icon_Safety_Technology_Saftey_drive.png">
            <a:extLst>
              <a:ext uri="{FF2B5EF4-FFF2-40B4-BE49-F238E27FC236}">
                <a16:creationId xmlns:a16="http://schemas.microsoft.com/office/drawing/2014/main" id="{85751CC7-D785-2BDF-C2A8-4FE8C36BFB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0547" y="4138047"/>
            <a:ext cx="1304925" cy="1427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45BDC193-B18A-2A7F-65A6-6D93FF42A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3776" y="4126074"/>
            <a:ext cx="1264906" cy="1193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X:\Grafiken\Icons\150dpi\008_SAFTEY_TECHNOLOGY_150dpi_PNG\008_PNO_Icon_Safety_Technology_Laser_scanner.png">
            <a:extLst>
              <a:ext uri="{FF2B5EF4-FFF2-40B4-BE49-F238E27FC236}">
                <a16:creationId xmlns:a16="http://schemas.microsoft.com/office/drawing/2014/main" id="{3A20E791-7BB8-F5C6-9C89-E252D5430E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3475" y="4138047"/>
            <a:ext cx="1225550" cy="122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9456588-1D96-B50D-9F7C-EF7822F1AF21}"/>
              </a:ext>
            </a:extLst>
          </p:cNvPr>
          <p:cNvCxnSpPr/>
          <p:nvPr/>
        </p:nvCxnSpPr>
        <p:spPr>
          <a:xfrm>
            <a:off x="1347019" y="3588773"/>
            <a:ext cx="7934633" cy="0"/>
          </a:xfrm>
          <a:prstGeom prst="line">
            <a:avLst/>
          </a:prstGeom>
          <a:noFill/>
          <a:ln w="50800" cap="flat">
            <a:solidFill>
              <a:srgbClr val="00B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46D6F4D-D557-BB98-26FD-C2ACC4DE256F}"/>
              </a:ext>
            </a:extLst>
          </p:cNvPr>
          <p:cNvCxnSpPr>
            <a:stCxn id="5" idx="2"/>
          </p:cNvCxnSpPr>
          <p:nvPr/>
        </p:nvCxnSpPr>
        <p:spPr>
          <a:xfrm flipH="1">
            <a:off x="5422106" y="3105318"/>
            <a:ext cx="1" cy="483456"/>
          </a:xfrm>
          <a:prstGeom prst="line">
            <a:avLst/>
          </a:prstGeom>
          <a:noFill/>
          <a:ln w="50800" cap="flat">
            <a:solidFill>
              <a:srgbClr val="00B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DEAFDB7-DB64-3C36-6CBC-546550330A86}"/>
              </a:ext>
            </a:extLst>
          </p:cNvPr>
          <p:cNvCxnSpPr>
            <a:stCxn id="9" idx="0"/>
          </p:cNvCxnSpPr>
          <p:nvPr/>
        </p:nvCxnSpPr>
        <p:spPr>
          <a:xfrm flipV="1">
            <a:off x="2726250" y="3588773"/>
            <a:ext cx="0" cy="549274"/>
          </a:xfrm>
          <a:prstGeom prst="line">
            <a:avLst/>
          </a:prstGeom>
          <a:noFill/>
          <a:ln w="50800" cap="flat">
            <a:solidFill>
              <a:srgbClr val="00B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8B9173D-BC22-994E-96B8-F2CDD5E53BA3}"/>
              </a:ext>
            </a:extLst>
          </p:cNvPr>
          <p:cNvCxnSpPr>
            <a:stCxn id="8" idx="0"/>
          </p:cNvCxnSpPr>
          <p:nvPr/>
        </p:nvCxnSpPr>
        <p:spPr>
          <a:xfrm flipV="1">
            <a:off x="4516229" y="3588773"/>
            <a:ext cx="0" cy="537301"/>
          </a:xfrm>
          <a:prstGeom prst="line">
            <a:avLst/>
          </a:prstGeom>
          <a:noFill/>
          <a:ln w="50800" cap="flat">
            <a:solidFill>
              <a:srgbClr val="00B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732EFED-75D4-D75E-4802-30A20CB5F279}"/>
              </a:ext>
            </a:extLst>
          </p:cNvPr>
          <p:cNvCxnSpPr>
            <a:stCxn id="6" idx="0"/>
          </p:cNvCxnSpPr>
          <p:nvPr/>
        </p:nvCxnSpPr>
        <p:spPr>
          <a:xfrm flipH="1" flipV="1">
            <a:off x="6254614" y="3588773"/>
            <a:ext cx="1" cy="505395"/>
          </a:xfrm>
          <a:prstGeom prst="line">
            <a:avLst/>
          </a:prstGeom>
          <a:noFill/>
          <a:ln w="50800" cap="flat">
            <a:solidFill>
              <a:srgbClr val="00B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48FD6AE-03D1-1060-B9E0-B23F184DF69C}"/>
              </a:ext>
            </a:extLst>
          </p:cNvPr>
          <p:cNvCxnSpPr>
            <a:stCxn id="7" idx="0"/>
          </p:cNvCxnSpPr>
          <p:nvPr/>
        </p:nvCxnSpPr>
        <p:spPr>
          <a:xfrm flipH="1" flipV="1">
            <a:off x="8013009" y="3604726"/>
            <a:ext cx="1" cy="533321"/>
          </a:xfrm>
          <a:prstGeom prst="line">
            <a:avLst/>
          </a:prstGeom>
          <a:noFill/>
          <a:ln w="50800" cap="flat">
            <a:solidFill>
              <a:srgbClr val="00B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5" name="Text Box 36">
            <a:extLst>
              <a:ext uri="{FF2B5EF4-FFF2-40B4-BE49-F238E27FC236}">
                <a16:creationId xmlns:a16="http://schemas.microsoft.com/office/drawing/2014/main" id="{AEE5142B-F892-F947-FAE6-F4E8C2B8CC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85215" y="2545980"/>
            <a:ext cx="3505206" cy="923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eaLnBrk="0" hangingPunct="0"/>
            <a:r>
              <a:rPr lang="en-GB" b="1" dirty="0">
                <a:solidFill>
                  <a:srgbClr val="000000"/>
                </a:solidFill>
              </a:rPr>
              <a:t>1:1 Communication relationship </a:t>
            </a:r>
          </a:p>
          <a:p>
            <a:pPr algn="r" eaLnBrk="0" hangingPunct="0"/>
            <a:r>
              <a:rPr lang="en-GB" b="1" dirty="0">
                <a:solidFill>
                  <a:srgbClr val="000000"/>
                </a:solidFill>
              </a:rPr>
              <a:t>between master / controller</a:t>
            </a:r>
          </a:p>
          <a:p>
            <a:pPr algn="r" eaLnBrk="0" hangingPunct="0"/>
            <a:r>
              <a:rPr lang="en-GB" b="1" dirty="0">
                <a:solidFill>
                  <a:srgbClr val="000000"/>
                </a:solidFill>
              </a:rPr>
              <a:t>and slave / device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FF34894-50F0-121D-7A82-E0AD499EBB13}"/>
              </a:ext>
            </a:extLst>
          </p:cNvPr>
          <p:cNvCxnSpPr/>
          <p:nvPr/>
        </p:nvCxnSpPr>
        <p:spPr>
          <a:xfrm flipH="1">
            <a:off x="2959510" y="3105318"/>
            <a:ext cx="1632155" cy="798088"/>
          </a:xfrm>
          <a:prstGeom prst="straightConnector1">
            <a:avLst/>
          </a:prstGeom>
          <a:noFill/>
          <a:ln w="25400" cap="flat">
            <a:solidFill>
              <a:schemeClr val="accent4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E2A079FF-9899-DBA5-C827-962AD2782A8A}"/>
              </a:ext>
            </a:extLst>
          </p:cNvPr>
          <p:cNvCxnSpPr/>
          <p:nvPr/>
        </p:nvCxnSpPr>
        <p:spPr>
          <a:xfrm flipV="1">
            <a:off x="3038168" y="3195484"/>
            <a:ext cx="1582993" cy="816077"/>
          </a:xfrm>
          <a:prstGeom prst="straightConnector1">
            <a:avLst/>
          </a:prstGeom>
          <a:noFill/>
          <a:ln w="25400" cap="flat">
            <a:solidFill>
              <a:schemeClr val="accent4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24749426-DD23-A698-777A-A03120DE4CE8}"/>
              </a:ext>
            </a:extLst>
          </p:cNvPr>
          <p:cNvCxnSpPr/>
          <p:nvPr/>
        </p:nvCxnSpPr>
        <p:spPr>
          <a:xfrm flipH="1">
            <a:off x="4748213" y="3205316"/>
            <a:ext cx="108922" cy="816078"/>
          </a:xfrm>
          <a:prstGeom prst="straightConnector1">
            <a:avLst/>
          </a:prstGeom>
          <a:noFill/>
          <a:ln w="25400" cap="flat">
            <a:solidFill>
              <a:schemeClr val="accent4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9989D08-B7DF-A868-AA33-118AF0FF5CF7}"/>
              </a:ext>
            </a:extLst>
          </p:cNvPr>
          <p:cNvCxnSpPr/>
          <p:nvPr/>
        </p:nvCxnSpPr>
        <p:spPr>
          <a:xfrm flipV="1">
            <a:off x="4866968" y="3195484"/>
            <a:ext cx="108155" cy="816077"/>
          </a:xfrm>
          <a:prstGeom prst="straightConnector1">
            <a:avLst/>
          </a:prstGeom>
          <a:noFill/>
          <a:ln w="25400" cap="flat">
            <a:solidFill>
              <a:schemeClr val="accent4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4B3F8B2C-4BA9-AB15-7338-2A0A5087681A}"/>
              </a:ext>
            </a:extLst>
          </p:cNvPr>
          <p:cNvCxnSpPr/>
          <p:nvPr/>
        </p:nvCxnSpPr>
        <p:spPr>
          <a:xfrm>
            <a:off x="5693433" y="3195484"/>
            <a:ext cx="196090" cy="816077"/>
          </a:xfrm>
          <a:prstGeom prst="straightConnector1">
            <a:avLst/>
          </a:prstGeom>
          <a:noFill/>
          <a:ln w="25400" cap="flat">
            <a:solidFill>
              <a:schemeClr val="accent4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A7881279-C32D-7DAD-8C9A-06DBFF7C8CF2}"/>
              </a:ext>
            </a:extLst>
          </p:cNvPr>
          <p:cNvCxnSpPr/>
          <p:nvPr/>
        </p:nvCxnSpPr>
        <p:spPr>
          <a:xfrm flipH="1" flipV="1">
            <a:off x="5810865" y="3195484"/>
            <a:ext cx="216309" cy="816077"/>
          </a:xfrm>
          <a:prstGeom prst="straightConnector1">
            <a:avLst/>
          </a:prstGeom>
          <a:noFill/>
          <a:ln w="25400" cap="flat">
            <a:solidFill>
              <a:schemeClr val="accent4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C873ADFE-D252-D686-1598-43C3A124C5C0}"/>
              </a:ext>
            </a:extLst>
          </p:cNvPr>
          <p:cNvCxnSpPr/>
          <p:nvPr/>
        </p:nvCxnSpPr>
        <p:spPr>
          <a:xfrm>
            <a:off x="6254614" y="3105318"/>
            <a:ext cx="1217902" cy="906243"/>
          </a:xfrm>
          <a:prstGeom prst="straightConnector1">
            <a:avLst/>
          </a:prstGeom>
          <a:noFill/>
          <a:ln w="25400" cap="flat">
            <a:solidFill>
              <a:schemeClr val="accent4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CC61F583-47A6-E8FC-F74D-A6F431F1FC9E}"/>
              </a:ext>
            </a:extLst>
          </p:cNvPr>
          <p:cNvCxnSpPr/>
          <p:nvPr/>
        </p:nvCxnSpPr>
        <p:spPr>
          <a:xfrm flipH="1" flipV="1">
            <a:off x="6302479" y="2979174"/>
            <a:ext cx="1268360" cy="924232"/>
          </a:xfrm>
          <a:prstGeom prst="straightConnector1">
            <a:avLst/>
          </a:prstGeom>
          <a:noFill/>
          <a:ln w="25400" cap="flat">
            <a:solidFill>
              <a:schemeClr val="accent4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55663187-DBB9-ACC0-A29E-C98BCB0FB69A}"/>
              </a:ext>
            </a:extLst>
          </p:cNvPr>
          <p:cNvSpPr txBox="1"/>
          <p:nvPr/>
        </p:nvSpPr>
        <p:spPr>
          <a:xfrm>
            <a:off x="1625034" y="5887085"/>
            <a:ext cx="2192593" cy="4654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normAutofit/>
          </a:bodyPr>
          <a:lstStyle/>
          <a:p>
            <a:pPr marL="0" marR="0" indent="0" algn="ctr" defTabSz="457200" rtl="0" fontAlgn="auto" latinLnBrk="0" hangingPunct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solidFill>
                  <a:schemeClr val="accent1"/>
                </a:solidFill>
                <a:uFill>
                  <a:solidFill>
                    <a:srgbClr val="132421"/>
                  </a:solidFill>
                </a:uFill>
                <a:ea typeface="Silka Light"/>
                <a:cs typeface="Silka Light"/>
                <a:sym typeface="Silka Light"/>
              </a:rPr>
              <a:t>Laser Scanner</a:t>
            </a:r>
            <a:endParaRPr kumimoji="0" lang="en-GB" sz="1600" b="0" i="0" u="none" strike="noStrike" cap="none" spc="0" normalizeH="0" baseline="0" dirty="0">
              <a:ln>
                <a:noFill/>
              </a:ln>
              <a:solidFill>
                <a:schemeClr val="accent1"/>
              </a:solidFill>
              <a:effectLst/>
              <a:uFill>
                <a:solidFill>
                  <a:srgbClr val="132421"/>
                </a:solidFill>
              </a:uFill>
              <a:ea typeface="Silka Light"/>
              <a:cs typeface="Silka Light"/>
              <a:sym typeface="Silka Light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425A77F-A266-EB66-C24C-94BC00F02361}"/>
              </a:ext>
            </a:extLst>
          </p:cNvPr>
          <p:cNvSpPr txBox="1"/>
          <p:nvPr/>
        </p:nvSpPr>
        <p:spPr>
          <a:xfrm>
            <a:off x="3417039" y="5881832"/>
            <a:ext cx="2192593" cy="4654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normAutofit/>
          </a:bodyPr>
          <a:lstStyle/>
          <a:p>
            <a:pPr marL="0" marR="0" indent="0" algn="ctr" defTabSz="457200" rtl="0" fontAlgn="auto" latinLnBrk="0" hangingPunct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solidFill>
                  <a:schemeClr val="accent1"/>
                </a:solidFill>
                <a:uFill>
                  <a:solidFill>
                    <a:srgbClr val="132421"/>
                  </a:solidFill>
                </a:uFill>
                <a:ea typeface="Silka Light"/>
                <a:cs typeface="Silka Light"/>
                <a:sym typeface="Silka Light"/>
              </a:rPr>
              <a:t>Standard I/O</a:t>
            </a:r>
            <a:endParaRPr kumimoji="0" lang="en-GB" sz="1600" b="0" i="0" u="none" strike="noStrike" cap="none" spc="0" normalizeH="0" baseline="0" dirty="0">
              <a:ln>
                <a:noFill/>
              </a:ln>
              <a:solidFill>
                <a:schemeClr val="accent1"/>
              </a:solidFill>
              <a:effectLst/>
              <a:uFill>
                <a:solidFill>
                  <a:srgbClr val="132421"/>
                </a:solidFill>
              </a:uFill>
              <a:ea typeface="Silka Light"/>
              <a:cs typeface="Silka Light"/>
              <a:sym typeface="Silka Ligh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8EC2ABE-5FC0-0DC3-778A-5A6F308C2B3A}"/>
              </a:ext>
            </a:extLst>
          </p:cNvPr>
          <p:cNvSpPr txBox="1"/>
          <p:nvPr/>
        </p:nvSpPr>
        <p:spPr>
          <a:xfrm>
            <a:off x="5140733" y="5881832"/>
            <a:ext cx="2192593" cy="4654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normAutofit/>
          </a:bodyPr>
          <a:lstStyle/>
          <a:p>
            <a:pPr marL="0" marR="0" indent="0" algn="ctr" defTabSz="457200" rtl="0" fontAlgn="auto" latinLnBrk="0" hangingPunct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solidFill>
                  <a:schemeClr val="accent1"/>
                </a:solidFill>
                <a:uFill>
                  <a:solidFill>
                    <a:srgbClr val="132421"/>
                  </a:solidFill>
                </a:uFill>
                <a:ea typeface="Silka Light"/>
                <a:cs typeface="Silka Light"/>
                <a:sym typeface="Silka Light"/>
              </a:rPr>
              <a:t>Safety I/O</a:t>
            </a:r>
            <a:endParaRPr kumimoji="0" lang="en-GB" sz="1600" b="0" i="0" u="none" strike="noStrike" cap="none" spc="0" normalizeH="0" baseline="0" dirty="0">
              <a:ln>
                <a:noFill/>
              </a:ln>
              <a:solidFill>
                <a:schemeClr val="accent1"/>
              </a:solidFill>
              <a:effectLst/>
              <a:uFill>
                <a:solidFill>
                  <a:srgbClr val="132421"/>
                </a:solidFill>
              </a:uFill>
              <a:ea typeface="Silka Light"/>
              <a:cs typeface="Silka Light"/>
              <a:sym typeface="Silka Ligh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56BCC31-7F51-781B-2167-6D9EA73A502C}"/>
              </a:ext>
            </a:extLst>
          </p:cNvPr>
          <p:cNvSpPr txBox="1"/>
          <p:nvPr/>
        </p:nvSpPr>
        <p:spPr>
          <a:xfrm>
            <a:off x="6916974" y="5881830"/>
            <a:ext cx="2192593" cy="4654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t">
            <a:normAutofit/>
          </a:bodyPr>
          <a:lstStyle/>
          <a:p>
            <a:pPr marL="0" marR="0" indent="0" algn="ctr" defTabSz="457200" rtl="0" fontAlgn="auto" latinLnBrk="0" hangingPunct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600" dirty="0">
                <a:solidFill>
                  <a:schemeClr val="accent1"/>
                </a:solidFill>
                <a:uFill>
                  <a:solidFill>
                    <a:srgbClr val="132421"/>
                  </a:solidFill>
                </a:uFill>
                <a:ea typeface="Silka Light"/>
                <a:cs typeface="Silka Light"/>
                <a:sym typeface="Silka Light"/>
              </a:rPr>
              <a:t>Drive with Safety</a:t>
            </a:r>
            <a:endParaRPr kumimoji="0" lang="en-GB" sz="1600" b="0" i="0" u="none" strike="noStrike" cap="none" spc="0" normalizeH="0" baseline="0" dirty="0">
              <a:ln>
                <a:noFill/>
              </a:ln>
              <a:solidFill>
                <a:schemeClr val="accent1"/>
              </a:solidFill>
              <a:effectLst/>
              <a:uFill>
                <a:solidFill>
                  <a:srgbClr val="132421"/>
                </a:solidFill>
              </a:uFill>
              <a:ea typeface="Silka Light"/>
              <a:cs typeface="Silka Light"/>
              <a:sym typeface="Silka Light"/>
            </a:endParaRPr>
          </a:p>
        </p:txBody>
      </p:sp>
    </p:spTree>
    <p:extLst>
      <p:ext uri="{BB962C8B-B14F-4D97-AF65-F5344CB8AC3E}">
        <p14:creationId xmlns:p14="http://schemas.microsoft.com/office/powerpoint/2010/main" val="304799000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AD4A0C-5470-717D-556F-F9B105950DC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066B49-A2E0-099A-C762-051A6E4D2D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F2C373D-E08A-BE19-1C57-DF1EEB7E2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ROFIsafe</a:t>
            </a:r>
            <a:r>
              <a:rPr lang="en-GB" dirty="0"/>
              <a:t> – Add-on Strategy</a:t>
            </a:r>
          </a:p>
        </p:txBody>
      </p:sp>
      <p:sp>
        <p:nvSpPr>
          <p:cNvPr id="6" name="Text Box 11">
            <a:extLst>
              <a:ext uri="{FF2B5EF4-FFF2-40B4-BE49-F238E27FC236}">
                <a16:creationId xmlns:a16="http://schemas.microsoft.com/office/drawing/2014/main" id="{BDBE2048-CDB1-5F64-8CBC-BF86095147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85626" y="1637076"/>
            <a:ext cx="1811336" cy="771031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</p:spPr>
        <p:txBody>
          <a:bodyPr wrap="square" lIns="104009" tIns="52603" rIns="104009" bIns="52603">
            <a:spAutoFit/>
          </a:bodyPr>
          <a:lstStyle/>
          <a:p>
            <a:pPr algn="ctr" defTabSz="661988">
              <a:lnSpc>
                <a:spcPct val="90000"/>
              </a:lnSpc>
            </a:pPr>
            <a:r>
              <a:rPr lang="en-US" sz="1600" dirty="0">
                <a:solidFill>
                  <a:schemeClr val="bg1"/>
                </a:solidFill>
              </a:rPr>
              <a:t>Standard engineering tool</a:t>
            </a:r>
          </a:p>
          <a:p>
            <a:pPr algn="ctr" defTabSz="661988">
              <a:lnSpc>
                <a:spcPct val="90000"/>
              </a:lnSpc>
            </a:pPr>
            <a:r>
              <a:rPr lang="en-US" sz="1600" dirty="0">
                <a:solidFill>
                  <a:schemeClr val="bg1"/>
                </a:solidFill>
              </a:rPr>
              <a:t>e.g. STEP 7</a:t>
            </a:r>
          </a:p>
        </p:txBody>
      </p:sp>
      <p:sp>
        <p:nvSpPr>
          <p:cNvPr id="7" name="Text Box 12">
            <a:extLst>
              <a:ext uri="{FF2B5EF4-FFF2-40B4-BE49-F238E27FC236}">
                <a16:creationId xmlns:a16="http://schemas.microsoft.com/office/drawing/2014/main" id="{D1E0A66F-A9E1-3FCD-91A8-31CA12EE45FB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4780495" y="1670953"/>
            <a:ext cx="221599" cy="1811335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</p:spPr>
        <p:txBody>
          <a:bodyPr vert="eaVert" wrap="square" lIns="0" tIns="0" rIns="0" bIns="0">
            <a:spAutoFit/>
          </a:bodyPr>
          <a:lstStyle/>
          <a:p>
            <a:pPr algn="ctr" defTabSz="661988">
              <a:lnSpc>
                <a:spcPct val="90000"/>
              </a:lnSpc>
            </a:pPr>
            <a:r>
              <a:rPr lang="en-US" sz="1600" dirty="0">
                <a:solidFill>
                  <a:schemeClr val="bg1"/>
                </a:solidFill>
              </a:rPr>
              <a:t>Standard CPU</a:t>
            </a:r>
          </a:p>
        </p:txBody>
      </p:sp>
      <p:sp>
        <p:nvSpPr>
          <p:cNvPr id="8" name="Text Box 13">
            <a:extLst>
              <a:ext uri="{FF2B5EF4-FFF2-40B4-BE49-F238E27FC236}">
                <a16:creationId xmlns:a16="http://schemas.microsoft.com/office/drawing/2014/main" id="{4120C56A-D13D-811D-C08A-CFFB4C13BB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85626" y="4998172"/>
            <a:ext cx="1811337" cy="301726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</p:spPr>
        <p:txBody>
          <a:bodyPr lIns="79352" tIns="39676" rIns="79352" bIns="39676">
            <a:spAutoFit/>
          </a:bodyPr>
          <a:lstStyle/>
          <a:p>
            <a:pPr algn="ctr" defTabSz="661988">
              <a:lnSpc>
                <a:spcPct val="90000"/>
              </a:lnSpc>
            </a:pPr>
            <a:r>
              <a:rPr lang="en-US" sz="1600" dirty="0">
                <a:solidFill>
                  <a:schemeClr val="bg1"/>
                </a:solidFill>
              </a:rPr>
              <a:t>PROFINET</a:t>
            </a:r>
          </a:p>
        </p:txBody>
      </p:sp>
      <p:sp>
        <p:nvSpPr>
          <p:cNvPr id="9" name="Text Box 14">
            <a:extLst>
              <a:ext uri="{FF2B5EF4-FFF2-40B4-BE49-F238E27FC236}">
                <a16:creationId xmlns:a16="http://schemas.microsoft.com/office/drawing/2014/main" id="{7C5BC2D8-298D-13D1-7376-99C78964A288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4670490" y="3048052"/>
            <a:ext cx="443198" cy="1812925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  <a:headEnd/>
            <a:tailEnd/>
          </a:ln>
        </p:spPr>
        <p:txBody>
          <a:bodyPr vert="eaVert" wrap="square" lIns="0" tIns="0" rIns="0" bIns="0">
            <a:spAutoFit/>
          </a:bodyPr>
          <a:lstStyle/>
          <a:p>
            <a:pPr algn="ctr" defTabSz="661988">
              <a:lnSpc>
                <a:spcPct val="90000"/>
              </a:lnSpc>
            </a:pPr>
            <a:r>
              <a:rPr lang="en-US" sz="1600">
                <a:solidFill>
                  <a:schemeClr val="bg1"/>
                </a:solidFill>
              </a:rPr>
              <a:t>Standard</a:t>
            </a:r>
          </a:p>
          <a:p>
            <a:pPr algn="ctr" defTabSz="661988">
              <a:lnSpc>
                <a:spcPct val="90000"/>
              </a:lnSpc>
            </a:pPr>
            <a:r>
              <a:rPr lang="en-US" sz="1600">
                <a:solidFill>
                  <a:schemeClr val="bg1"/>
                </a:solidFill>
              </a:rPr>
              <a:t>Remote I/O</a:t>
            </a:r>
          </a:p>
        </p:txBody>
      </p:sp>
      <p:grpSp>
        <p:nvGrpSpPr>
          <p:cNvPr id="10" name="Group 15">
            <a:extLst>
              <a:ext uri="{FF2B5EF4-FFF2-40B4-BE49-F238E27FC236}">
                <a16:creationId xmlns:a16="http://schemas.microsoft.com/office/drawing/2014/main" id="{EAC04926-78E2-A91E-28B0-7576E404E7E7}"/>
              </a:ext>
            </a:extLst>
          </p:cNvPr>
          <p:cNvGrpSpPr>
            <a:grpSpLocks/>
          </p:cNvGrpSpPr>
          <p:nvPr/>
        </p:nvGrpSpPr>
        <p:grpSpPr bwMode="auto">
          <a:xfrm>
            <a:off x="6049376" y="1637076"/>
            <a:ext cx="2590800" cy="744537"/>
            <a:chOff x="3456" y="742"/>
            <a:chExt cx="1632" cy="469"/>
          </a:xfrm>
        </p:grpSpPr>
        <p:sp>
          <p:nvSpPr>
            <p:cNvPr id="11" name="Text Box 16">
              <a:extLst>
                <a:ext uri="{FF2B5EF4-FFF2-40B4-BE49-F238E27FC236}">
                  <a16:creationId xmlns:a16="http://schemas.microsoft.com/office/drawing/2014/main" id="{CB7B5FA0-4C87-F435-1696-E2E3D650FB7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90" y="742"/>
              <a:ext cx="1298" cy="469"/>
            </a:xfrm>
            <a:prstGeom prst="rect">
              <a:avLst/>
            </a:prstGeom>
            <a:solidFill>
              <a:srgbClr val="FFDD00"/>
            </a:solidFill>
            <a:ln w="12700">
              <a:noFill/>
              <a:miter lim="800000"/>
              <a:headEnd/>
              <a:tailEnd/>
            </a:ln>
          </p:spPr>
          <p:txBody>
            <a:bodyPr lIns="79352" tIns="39676" rIns="79352" bIns="39676">
              <a:spAutoFit/>
            </a:bodyPr>
            <a:lstStyle/>
            <a:p>
              <a:pPr algn="ctr" defTabSz="661988">
                <a:lnSpc>
                  <a:spcPct val="90000"/>
                </a:lnSpc>
              </a:pPr>
              <a:r>
                <a:rPr lang="en-US" sz="1600" dirty="0">
                  <a:solidFill>
                    <a:srgbClr val="000078"/>
                  </a:solidFill>
                </a:rPr>
                <a:t>Safety</a:t>
              </a:r>
            </a:p>
            <a:p>
              <a:pPr algn="ctr" defTabSz="661988">
                <a:lnSpc>
                  <a:spcPct val="90000"/>
                </a:lnSpc>
              </a:pPr>
              <a:r>
                <a:rPr lang="en-US" sz="1600" dirty="0">
                  <a:solidFill>
                    <a:srgbClr val="000078"/>
                  </a:solidFill>
                </a:rPr>
                <a:t>Engineering tool</a:t>
              </a:r>
            </a:p>
            <a:p>
              <a:pPr algn="ctr" defTabSz="661988">
                <a:lnSpc>
                  <a:spcPct val="90000"/>
                </a:lnSpc>
              </a:pPr>
              <a:r>
                <a:rPr lang="en-US" sz="1600" dirty="0">
                  <a:solidFill>
                    <a:srgbClr val="000078"/>
                  </a:solidFill>
                </a:rPr>
                <a:t>e.g. S7 Safety</a:t>
              </a:r>
            </a:p>
          </p:txBody>
        </p:sp>
        <p:grpSp>
          <p:nvGrpSpPr>
            <p:cNvPr id="12" name="Group 17">
              <a:extLst>
                <a:ext uri="{FF2B5EF4-FFF2-40B4-BE49-F238E27FC236}">
                  <a16:creationId xmlns:a16="http://schemas.microsoft.com/office/drawing/2014/main" id="{6216D5DB-230F-E7C1-31A1-4104AF02F0C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56" y="886"/>
              <a:ext cx="192" cy="192"/>
              <a:chOff x="2928" y="864"/>
              <a:chExt cx="192" cy="192"/>
            </a:xfrm>
          </p:grpSpPr>
          <p:sp>
            <p:nvSpPr>
              <p:cNvPr id="13" name="Line 18">
                <a:extLst>
                  <a:ext uri="{FF2B5EF4-FFF2-40B4-BE49-F238E27FC236}">
                    <a16:creationId xmlns:a16="http://schemas.microsoft.com/office/drawing/2014/main" id="{7D98DF6C-D455-C73E-5D39-5183E92B853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28" y="960"/>
                <a:ext cx="192" cy="0"/>
              </a:xfrm>
              <a:prstGeom prst="line">
                <a:avLst/>
              </a:prstGeom>
              <a:noFill/>
              <a:ln w="28575">
                <a:solidFill>
                  <a:srgbClr val="0000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4" name="Line 19">
                <a:extLst>
                  <a:ext uri="{FF2B5EF4-FFF2-40B4-BE49-F238E27FC236}">
                    <a16:creationId xmlns:a16="http://schemas.microsoft.com/office/drawing/2014/main" id="{F53AB7CD-3C01-88CC-7502-33E6C83133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24" y="864"/>
                <a:ext cx="0" cy="192"/>
              </a:xfrm>
              <a:prstGeom prst="line">
                <a:avLst/>
              </a:prstGeom>
              <a:noFill/>
              <a:ln w="28575">
                <a:solidFill>
                  <a:srgbClr val="0000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grpSp>
        <p:nvGrpSpPr>
          <p:cNvPr id="15" name="Group 20">
            <a:extLst>
              <a:ext uri="{FF2B5EF4-FFF2-40B4-BE49-F238E27FC236}">
                <a16:creationId xmlns:a16="http://schemas.microsoft.com/office/drawing/2014/main" id="{850F969B-776F-055E-8E81-3E743107B2B2}"/>
              </a:ext>
            </a:extLst>
          </p:cNvPr>
          <p:cNvGrpSpPr>
            <a:grpSpLocks/>
          </p:cNvGrpSpPr>
          <p:nvPr/>
        </p:nvGrpSpPr>
        <p:grpSpPr bwMode="auto">
          <a:xfrm>
            <a:off x="6049376" y="3659241"/>
            <a:ext cx="2590800" cy="533400"/>
            <a:chOff x="3456" y="2592"/>
            <a:chExt cx="1632" cy="336"/>
          </a:xfrm>
        </p:grpSpPr>
        <p:sp>
          <p:nvSpPr>
            <p:cNvPr id="16" name="Text Box 21">
              <a:extLst>
                <a:ext uri="{FF2B5EF4-FFF2-40B4-BE49-F238E27FC236}">
                  <a16:creationId xmlns:a16="http://schemas.microsoft.com/office/drawing/2014/main" id="{67926629-B522-008F-01E3-86A703F6748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90" y="2592"/>
              <a:ext cx="1298" cy="336"/>
            </a:xfrm>
            <a:prstGeom prst="rect">
              <a:avLst/>
            </a:prstGeom>
            <a:solidFill>
              <a:srgbClr val="FFDD00"/>
            </a:solidFill>
            <a:ln w="12700">
              <a:noFill/>
              <a:miter lim="800000"/>
              <a:headEnd/>
              <a:tailEnd/>
            </a:ln>
          </p:spPr>
          <p:txBody>
            <a:bodyPr wrap="square" lIns="79352" tIns="39676" rIns="79352" bIns="39676">
              <a:spAutoFit/>
            </a:bodyPr>
            <a:lstStyle/>
            <a:p>
              <a:pPr algn="ctr" defTabSz="661988">
                <a:lnSpc>
                  <a:spcPct val="90000"/>
                </a:lnSpc>
              </a:pPr>
              <a:r>
                <a:rPr lang="en-US" sz="1600" dirty="0">
                  <a:solidFill>
                    <a:srgbClr val="000078"/>
                  </a:solidFill>
                </a:rPr>
                <a:t>Safety</a:t>
              </a:r>
            </a:p>
            <a:p>
              <a:pPr algn="ctr" defTabSz="661988">
                <a:lnSpc>
                  <a:spcPct val="90000"/>
                </a:lnSpc>
              </a:pPr>
              <a:r>
                <a:rPr lang="en-US" sz="1600" dirty="0">
                  <a:solidFill>
                    <a:srgbClr val="000078"/>
                  </a:solidFill>
                </a:rPr>
                <a:t>I/O Modules</a:t>
              </a:r>
              <a:r>
                <a:rPr lang="en-US" sz="1700" b="1" dirty="0">
                  <a:solidFill>
                    <a:srgbClr val="000078"/>
                  </a:solidFill>
                </a:rPr>
                <a:t> </a:t>
              </a:r>
              <a:endParaRPr lang="en-US" sz="1700" dirty="0">
                <a:solidFill>
                  <a:srgbClr val="000078"/>
                </a:solidFill>
              </a:endParaRPr>
            </a:p>
          </p:txBody>
        </p:sp>
        <p:grpSp>
          <p:nvGrpSpPr>
            <p:cNvPr id="17" name="Group 22">
              <a:extLst>
                <a:ext uri="{FF2B5EF4-FFF2-40B4-BE49-F238E27FC236}">
                  <a16:creationId xmlns:a16="http://schemas.microsoft.com/office/drawing/2014/main" id="{AEFE687F-758A-7BEC-CBF8-3A44022E4AD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56" y="2688"/>
              <a:ext cx="192" cy="192"/>
              <a:chOff x="2928" y="864"/>
              <a:chExt cx="192" cy="192"/>
            </a:xfrm>
          </p:grpSpPr>
          <p:sp>
            <p:nvSpPr>
              <p:cNvPr id="18" name="Line 23">
                <a:extLst>
                  <a:ext uri="{FF2B5EF4-FFF2-40B4-BE49-F238E27FC236}">
                    <a16:creationId xmlns:a16="http://schemas.microsoft.com/office/drawing/2014/main" id="{4DA86812-4D8F-C1B2-A7CB-6D83BE68A6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28" y="960"/>
                <a:ext cx="192" cy="0"/>
              </a:xfrm>
              <a:prstGeom prst="line">
                <a:avLst/>
              </a:prstGeom>
              <a:noFill/>
              <a:ln w="28575">
                <a:solidFill>
                  <a:srgbClr val="0000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9" name="Line 24">
                <a:extLst>
                  <a:ext uri="{FF2B5EF4-FFF2-40B4-BE49-F238E27FC236}">
                    <a16:creationId xmlns:a16="http://schemas.microsoft.com/office/drawing/2014/main" id="{C92AF1DB-6DF8-4706-9A5C-0E0375560B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24" y="864"/>
                <a:ext cx="0" cy="192"/>
              </a:xfrm>
              <a:prstGeom prst="line">
                <a:avLst/>
              </a:prstGeom>
              <a:noFill/>
              <a:ln w="28575">
                <a:solidFill>
                  <a:srgbClr val="0000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grpSp>
        <p:nvGrpSpPr>
          <p:cNvPr id="20" name="Group 25">
            <a:extLst>
              <a:ext uri="{FF2B5EF4-FFF2-40B4-BE49-F238E27FC236}">
                <a16:creationId xmlns:a16="http://schemas.microsoft.com/office/drawing/2014/main" id="{B0922C12-52C5-50A5-4B4E-141DB693B031}"/>
              </a:ext>
            </a:extLst>
          </p:cNvPr>
          <p:cNvGrpSpPr>
            <a:grpSpLocks/>
          </p:cNvGrpSpPr>
          <p:nvPr/>
        </p:nvGrpSpPr>
        <p:grpSpPr bwMode="auto">
          <a:xfrm>
            <a:off x="6049376" y="5018809"/>
            <a:ext cx="2590800" cy="304800"/>
            <a:chOff x="3456" y="3467"/>
            <a:chExt cx="1632" cy="192"/>
          </a:xfrm>
        </p:grpSpPr>
        <p:sp>
          <p:nvSpPr>
            <p:cNvPr id="21" name="Text Box 26">
              <a:extLst>
                <a:ext uri="{FF2B5EF4-FFF2-40B4-BE49-F238E27FC236}">
                  <a16:creationId xmlns:a16="http://schemas.microsoft.com/office/drawing/2014/main" id="{495D799C-2568-042D-12EA-5FBFFADDE01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90" y="3467"/>
              <a:ext cx="1298" cy="189"/>
            </a:xfrm>
            <a:prstGeom prst="rect">
              <a:avLst/>
            </a:prstGeom>
            <a:solidFill>
              <a:srgbClr val="FFDD00"/>
            </a:solidFill>
            <a:ln w="12700">
              <a:noFill/>
              <a:miter lim="800000"/>
              <a:headEnd/>
              <a:tailEnd/>
            </a:ln>
          </p:spPr>
          <p:txBody>
            <a:bodyPr wrap="square" lIns="79352" tIns="39676" rIns="79352" bIns="39676">
              <a:spAutoFit/>
            </a:bodyPr>
            <a:lstStyle/>
            <a:p>
              <a:pPr algn="ctr" defTabSz="661988">
                <a:lnSpc>
                  <a:spcPct val="90000"/>
                </a:lnSpc>
              </a:pPr>
              <a:r>
                <a:rPr lang="en-US" sz="1600">
                  <a:solidFill>
                    <a:srgbClr val="000078"/>
                  </a:solidFill>
                </a:rPr>
                <a:t>PROFIsafe</a:t>
              </a:r>
            </a:p>
          </p:txBody>
        </p:sp>
        <p:grpSp>
          <p:nvGrpSpPr>
            <p:cNvPr id="22" name="Group 27">
              <a:extLst>
                <a:ext uri="{FF2B5EF4-FFF2-40B4-BE49-F238E27FC236}">
                  <a16:creationId xmlns:a16="http://schemas.microsoft.com/office/drawing/2014/main" id="{DF1F4813-A3E7-4062-4776-8A5ED7BB832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56" y="3467"/>
              <a:ext cx="192" cy="192"/>
              <a:chOff x="2928" y="864"/>
              <a:chExt cx="192" cy="192"/>
            </a:xfrm>
          </p:grpSpPr>
          <p:sp>
            <p:nvSpPr>
              <p:cNvPr id="23" name="Line 28">
                <a:extLst>
                  <a:ext uri="{FF2B5EF4-FFF2-40B4-BE49-F238E27FC236}">
                    <a16:creationId xmlns:a16="http://schemas.microsoft.com/office/drawing/2014/main" id="{67BC22AD-6856-5645-C887-678253AD2C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28" y="960"/>
                <a:ext cx="192" cy="0"/>
              </a:xfrm>
              <a:prstGeom prst="line">
                <a:avLst/>
              </a:prstGeom>
              <a:noFill/>
              <a:ln w="28575">
                <a:solidFill>
                  <a:srgbClr val="0000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Line 29">
                <a:extLst>
                  <a:ext uri="{FF2B5EF4-FFF2-40B4-BE49-F238E27FC236}">
                    <a16:creationId xmlns:a16="http://schemas.microsoft.com/office/drawing/2014/main" id="{9F5BE736-8F06-05C4-035F-522095B85C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24" y="864"/>
                <a:ext cx="0" cy="192"/>
              </a:xfrm>
              <a:prstGeom prst="line">
                <a:avLst/>
              </a:prstGeom>
              <a:noFill/>
              <a:ln w="28575">
                <a:solidFill>
                  <a:srgbClr val="0000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40" name="Text Box 45">
            <a:extLst>
              <a:ext uri="{FF2B5EF4-FFF2-40B4-BE49-F238E27FC236}">
                <a16:creationId xmlns:a16="http://schemas.microsoft.com/office/drawing/2014/main" id="{25E7AF30-0C7E-B9FA-25F9-2438C1AF14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85626" y="2704134"/>
            <a:ext cx="1811335" cy="271463"/>
          </a:xfrm>
          <a:prstGeom prst="rect">
            <a:avLst/>
          </a:prstGeom>
          <a:solidFill>
            <a:srgbClr val="FFDD00"/>
          </a:solidFill>
          <a:ln w="12700">
            <a:noFill/>
            <a:miter lim="800000"/>
            <a:headEnd/>
            <a:tailEnd/>
          </a:ln>
        </p:spPr>
        <p:txBody>
          <a:bodyPr wrap="square" lIns="79352" tIns="39676" rIns="79352" bIns="39676">
            <a:spAutoFit/>
          </a:bodyPr>
          <a:lstStyle/>
          <a:p>
            <a:pPr algn="ctr" defTabSz="661988">
              <a:lnSpc>
                <a:spcPct val="90000"/>
              </a:lnSpc>
            </a:pPr>
            <a:r>
              <a:rPr lang="en-US" sz="1400">
                <a:solidFill>
                  <a:srgbClr val="000099"/>
                </a:solidFill>
              </a:rPr>
              <a:t>F-Hardware</a:t>
            </a:r>
          </a:p>
        </p:txBody>
      </p:sp>
      <p:sp>
        <p:nvSpPr>
          <p:cNvPr id="89" name="Freeform 94">
            <a:extLst>
              <a:ext uri="{FF2B5EF4-FFF2-40B4-BE49-F238E27FC236}">
                <a16:creationId xmlns:a16="http://schemas.microsoft.com/office/drawing/2014/main" id="{F5E983F0-EDC8-307B-C859-289192BEE4EF}"/>
              </a:ext>
            </a:extLst>
          </p:cNvPr>
          <p:cNvSpPr>
            <a:spLocks/>
          </p:cNvSpPr>
          <p:nvPr/>
        </p:nvSpPr>
        <p:spPr bwMode="auto">
          <a:xfrm>
            <a:off x="2504488" y="3267438"/>
            <a:ext cx="11113" cy="174625"/>
          </a:xfrm>
          <a:custGeom>
            <a:avLst/>
            <a:gdLst>
              <a:gd name="T0" fmla="*/ 0 w 7"/>
              <a:gd name="T1" fmla="*/ 0 h 113"/>
              <a:gd name="T2" fmla="*/ 2147483647 w 7"/>
              <a:gd name="T3" fmla="*/ 0 h 113"/>
              <a:gd name="T4" fmla="*/ 2147483647 w 7"/>
              <a:gd name="T5" fmla="*/ 2147483647 h 113"/>
              <a:gd name="T6" fmla="*/ 0 w 7"/>
              <a:gd name="T7" fmla="*/ 2147483647 h 113"/>
              <a:gd name="T8" fmla="*/ 0 w 7"/>
              <a:gd name="T9" fmla="*/ 0 h 1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113"/>
              <a:gd name="T17" fmla="*/ 7 w 7"/>
              <a:gd name="T18" fmla="*/ 113 h 1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113">
                <a:moveTo>
                  <a:pt x="0" y="0"/>
                </a:moveTo>
                <a:lnTo>
                  <a:pt x="6" y="0"/>
                </a:lnTo>
                <a:lnTo>
                  <a:pt x="6" y="112"/>
                </a:lnTo>
                <a:lnTo>
                  <a:pt x="0" y="112"/>
                </a:lnTo>
                <a:lnTo>
                  <a:pt x="0" y="0"/>
                </a:lnTo>
              </a:path>
            </a:pathLst>
          </a:custGeom>
          <a:solidFill>
            <a:srgbClr val="FFFFFF"/>
          </a:solidFill>
          <a:ln w="9525" cap="rnd">
            <a:noFill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B15D3C5A-797F-7C68-8E3C-B1EF7DF6BB4A}"/>
              </a:ext>
            </a:extLst>
          </p:cNvPr>
          <p:cNvCxnSpPr/>
          <p:nvPr/>
        </p:nvCxnSpPr>
        <p:spPr>
          <a:xfrm>
            <a:off x="1120877" y="1316038"/>
            <a:ext cx="0" cy="5060409"/>
          </a:xfrm>
          <a:prstGeom prst="line">
            <a:avLst/>
          </a:prstGeom>
          <a:noFill/>
          <a:ln w="50800" cap="flat">
            <a:solidFill>
              <a:srgbClr val="00B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294E90A3-F3B5-7427-5424-35B57E8A9AE2}"/>
              </a:ext>
            </a:extLst>
          </p:cNvPr>
          <p:cNvCxnSpPr>
            <a:stCxn id="5" idx="1"/>
          </p:cNvCxnSpPr>
          <p:nvPr/>
        </p:nvCxnSpPr>
        <p:spPr>
          <a:xfrm flipH="1">
            <a:off x="1120877" y="2240474"/>
            <a:ext cx="733390" cy="1281"/>
          </a:xfrm>
          <a:prstGeom prst="line">
            <a:avLst/>
          </a:prstGeom>
          <a:noFill/>
          <a:ln w="50800" cap="flat">
            <a:solidFill>
              <a:srgbClr val="00B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907B6480-1CEF-C1D6-5B40-9253719EAE49}"/>
              </a:ext>
            </a:extLst>
          </p:cNvPr>
          <p:cNvCxnSpPr>
            <a:cxnSpLocks/>
          </p:cNvCxnSpPr>
          <p:nvPr/>
        </p:nvCxnSpPr>
        <p:spPr>
          <a:xfrm flipH="1">
            <a:off x="1127701" y="3658214"/>
            <a:ext cx="733390" cy="0"/>
          </a:xfrm>
          <a:prstGeom prst="line">
            <a:avLst/>
          </a:prstGeom>
          <a:noFill/>
          <a:ln w="50800" cap="flat">
            <a:solidFill>
              <a:srgbClr val="00B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CC0E73C2-9E11-42A5-084F-507D2B270EB9}"/>
              </a:ext>
            </a:extLst>
          </p:cNvPr>
          <p:cNvCxnSpPr/>
          <p:nvPr/>
        </p:nvCxnSpPr>
        <p:spPr>
          <a:xfrm flipH="1">
            <a:off x="1127701" y="5318847"/>
            <a:ext cx="733390" cy="0"/>
          </a:xfrm>
          <a:prstGeom prst="line">
            <a:avLst/>
          </a:prstGeom>
          <a:noFill/>
          <a:ln w="50800" cap="flat">
            <a:solidFill>
              <a:srgbClr val="00B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5" name="Picture 4" descr="X:\Grafiken\Icons\150dpi\008_SAFTEY_TECHNOLOGY_150dpi_PNG\008_PNO_Icon_Safety_Technology_Saftey_CPU.png">
            <a:extLst>
              <a:ext uri="{FF2B5EF4-FFF2-40B4-BE49-F238E27FC236}">
                <a16:creationId xmlns:a16="http://schemas.microsoft.com/office/drawing/2014/main" id="{CED3A03B-7EE3-9DE1-BEDB-CF914FB580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4267" y="1627699"/>
            <a:ext cx="1347787" cy="122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7" descr="X:\Grafiken\Icons\150dpi\008_SAFTEY_TECHNOLOGY_150dpi_PNG\008_PNO_Icon_Safety_Technology_Saftey_IO_modular.png">
            <a:extLst>
              <a:ext uri="{FF2B5EF4-FFF2-40B4-BE49-F238E27FC236}">
                <a16:creationId xmlns:a16="http://schemas.microsoft.com/office/drawing/2014/main" id="{DBB6CA71-7075-1836-A4FB-CEA934755B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0923" y="3045439"/>
            <a:ext cx="1122363" cy="122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5" descr="X:\Grafiken\Icons\150dpi\008_SAFTEY_TECHNOLOGY_150dpi_PNG\008_PNO_Icon_Safety_Technology_Saftey_drive.png">
            <a:extLst>
              <a:ext uri="{FF2B5EF4-FFF2-40B4-BE49-F238E27FC236}">
                <a16:creationId xmlns:a16="http://schemas.microsoft.com/office/drawing/2014/main" id="{6E420449-2536-6E0E-CDAB-C94CBF2116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2744" y="4573950"/>
            <a:ext cx="1304925" cy="1427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6679556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E9E4ACC-92D6-4DAB-5649-119945705A4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C6E948-8F35-C1DB-A031-2CE9833EAD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marR="0" lvl="0" indent="-342900" algn="just" defTabSz="914400" rtl="0" eaLnBrk="1" fontAlgn="base" latinLnBrk="0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Coexistence of standard program and safety-related program on one CPU.</a:t>
            </a:r>
          </a:p>
          <a:p>
            <a:pPr marL="342900" marR="0" lvl="0" indent="-342900" algn="just" defTabSz="914400" rtl="0" eaLnBrk="1" fontAlgn="base" latinLnBrk="0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sym typeface="Wingdings" pitchFamily="2" charset="2"/>
              </a:rPr>
              <a:t>Changes to the standard program have no effect on the integrity of the safety-related program section.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501DE2-32DF-C1ED-B8A8-62DD47B50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ROFIsafe</a:t>
            </a:r>
            <a:r>
              <a:rPr lang="en-GB" dirty="0"/>
              <a:t> – Application Program</a:t>
            </a:r>
          </a:p>
        </p:txBody>
      </p:sp>
      <p:sp>
        <p:nvSpPr>
          <p:cNvPr id="6" name="Rectangle 12">
            <a:extLst>
              <a:ext uri="{FF2B5EF4-FFF2-40B4-BE49-F238E27FC236}">
                <a16:creationId xmlns:a16="http://schemas.microsoft.com/office/drawing/2014/main" id="{6DD16833-7BEB-53CC-0368-5B58B941A2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01633" y="2471493"/>
            <a:ext cx="3733800" cy="34353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algn="ctr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endParaRPr lang="en-US"/>
          </a:p>
        </p:txBody>
      </p:sp>
      <p:sp>
        <p:nvSpPr>
          <p:cNvPr id="10" name="Rectangle 16">
            <a:extLst>
              <a:ext uri="{FF2B5EF4-FFF2-40B4-BE49-F238E27FC236}">
                <a16:creationId xmlns:a16="http://schemas.microsoft.com/office/drawing/2014/main" id="{DB1C8CCA-55D1-F0DD-E348-4177B249BD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5933" y="3241431"/>
            <a:ext cx="2420937" cy="64293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wrap="none" lIns="126000" tIns="46800" rIns="90000" bIns="46800" anchor="ctr"/>
          <a:lstStyle/>
          <a:p>
            <a:r>
              <a:rPr lang="en-US" sz="1600">
                <a:solidFill>
                  <a:schemeClr val="bg1"/>
                </a:solidFill>
              </a:rPr>
              <a:t>Standard program</a:t>
            </a:r>
          </a:p>
        </p:txBody>
      </p:sp>
      <p:sp>
        <p:nvSpPr>
          <p:cNvPr id="11" name="Rectangle 17">
            <a:extLst>
              <a:ext uri="{FF2B5EF4-FFF2-40B4-BE49-F238E27FC236}">
                <a16:creationId xmlns:a16="http://schemas.microsoft.com/office/drawing/2014/main" id="{CA3CA548-4ADA-715F-BF0D-400F573A50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5933" y="3887543"/>
            <a:ext cx="2420937" cy="642938"/>
          </a:xfrm>
          <a:prstGeom prst="rect">
            <a:avLst/>
          </a:prstGeom>
          <a:solidFill>
            <a:srgbClr val="FFDD00"/>
          </a:solidFill>
          <a:ln w="9525">
            <a:noFill/>
            <a:miter lim="800000"/>
            <a:headEnd/>
            <a:tailEnd/>
          </a:ln>
        </p:spPr>
        <p:txBody>
          <a:bodyPr wrap="none" lIns="126000" tIns="46800" rIns="90000" bIns="46800" anchor="ctr"/>
          <a:lstStyle/>
          <a:p>
            <a:r>
              <a:rPr lang="en-US" sz="1600"/>
              <a:t>Safety</a:t>
            </a:r>
            <a:r>
              <a:rPr lang="en-US" sz="1600">
                <a:solidFill>
                  <a:schemeClr val="bg1"/>
                </a:solidFill>
              </a:rPr>
              <a:t> </a:t>
            </a:r>
            <a:r>
              <a:rPr lang="en-US" sz="1600"/>
              <a:t>program</a:t>
            </a:r>
          </a:p>
        </p:txBody>
      </p:sp>
      <p:sp>
        <p:nvSpPr>
          <p:cNvPr id="12" name="Rectangle 18">
            <a:extLst>
              <a:ext uri="{FF2B5EF4-FFF2-40B4-BE49-F238E27FC236}">
                <a16:creationId xmlns:a16="http://schemas.microsoft.com/office/drawing/2014/main" id="{053F7092-32E3-6EDD-338A-2E72FC3B7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5933" y="4530481"/>
            <a:ext cx="2420937" cy="642937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wrap="none" lIns="126000" tIns="46800" rIns="90000" bIns="46800" anchor="ctr"/>
          <a:lstStyle/>
          <a:p>
            <a:r>
              <a:rPr lang="en-US" sz="1600">
                <a:solidFill>
                  <a:schemeClr val="bg1"/>
                </a:solidFill>
              </a:rPr>
              <a:t>Standard program</a:t>
            </a:r>
          </a:p>
        </p:txBody>
      </p:sp>
      <p:sp>
        <p:nvSpPr>
          <p:cNvPr id="118" name="Freeform 94">
            <a:extLst>
              <a:ext uri="{FF2B5EF4-FFF2-40B4-BE49-F238E27FC236}">
                <a16:creationId xmlns:a16="http://schemas.microsoft.com/office/drawing/2014/main" id="{3453C5A1-7CDD-456A-BE61-00EDC14E416F}"/>
              </a:ext>
            </a:extLst>
          </p:cNvPr>
          <p:cNvSpPr>
            <a:spLocks/>
          </p:cNvSpPr>
          <p:nvPr/>
        </p:nvSpPr>
        <p:spPr bwMode="auto">
          <a:xfrm>
            <a:off x="9478063" y="3558836"/>
            <a:ext cx="11113" cy="174625"/>
          </a:xfrm>
          <a:custGeom>
            <a:avLst/>
            <a:gdLst>
              <a:gd name="T0" fmla="*/ 0 w 7"/>
              <a:gd name="T1" fmla="*/ 0 h 113"/>
              <a:gd name="T2" fmla="*/ 2147483647 w 7"/>
              <a:gd name="T3" fmla="*/ 0 h 113"/>
              <a:gd name="T4" fmla="*/ 2147483647 w 7"/>
              <a:gd name="T5" fmla="*/ 2147483647 h 113"/>
              <a:gd name="T6" fmla="*/ 0 w 7"/>
              <a:gd name="T7" fmla="*/ 2147483647 h 113"/>
              <a:gd name="T8" fmla="*/ 0 w 7"/>
              <a:gd name="T9" fmla="*/ 0 h 1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113"/>
              <a:gd name="T17" fmla="*/ 7 w 7"/>
              <a:gd name="T18" fmla="*/ 113 h 1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113">
                <a:moveTo>
                  <a:pt x="0" y="0"/>
                </a:moveTo>
                <a:lnTo>
                  <a:pt x="6" y="0"/>
                </a:lnTo>
                <a:lnTo>
                  <a:pt x="6" y="112"/>
                </a:lnTo>
                <a:lnTo>
                  <a:pt x="0" y="112"/>
                </a:lnTo>
                <a:lnTo>
                  <a:pt x="0" y="0"/>
                </a:lnTo>
              </a:path>
            </a:pathLst>
          </a:custGeom>
          <a:solidFill>
            <a:srgbClr val="FFFFFF"/>
          </a:solidFill>
          <a:ln w="9525" cap="rnd">
            <a:noFill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33944245-5C57-CA96-8339-14ADA1AEF218}"/>
              </a:ext>
            </a:extLst>
          </p:cNvPr>
          <p:cNvCxnSpPr>
            <a:cxnSpLocks/>
          </p:cNvCxnSpPr>
          <p:nvPr/>
        </p:nvCxnSpPr>
        <p:spPr>
          <a:xfrm>
            <a:off x="8094452" y="2009670"/>
            <a:ext cx="0" cy="4658175"/>
          </a:xfrm>
          <a:prstGeom prst="line">
            <a:avLst/>
          </a:prstGeom>
          <a:noFill/>
          <a:ln w="50800" cap="flat">
            <a:solidFill>
              <a:srgbClr val="00B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E67EF19E-7033-0A7E-A907-898B05BEF6C2}"/>
              </a:ext>
            </a:extLst>
          </p:cNvPr>
          <p:cNvCxnSpPr>
            <a:stCxn id="123" idx="1"/>
          </p:cNvCxnSpPr>
          <p:nvPr/>
        </p:nvCxnSpPr>
        <p:spPr>
          <a:xfrm flipH="1">
            <a:off x="8094452" y="2531872"/>
            <a:ext cx="733390" cy="1281"/>
          </a:xfrm>
          <a:prstGeom prst="line">
            <a:avLst/>
          </a:prstGeom>
          <a:noFill/>
          <a:ln w="50800" cap="flat">
            <a:solidFill>
              <a:srgbClr val="00B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AD38EDA3-8FA3-CF1B-6C09-A7A5C59E7C21}"/>
              </a:ext>
            </a:extLst>
          </p:cNvPr>
          <p:cNvCxnSpPr>
            <a:cxnSpLocks/>
          </p:cNvCxnSpPr>
          <p:nvPr/>
        </p:nvCxnSpPr>
        <p:spPr>
          <a:xfrm flipH="1">
            <a:off x="8101276" y="3949612"/>
            <a:ext cx="733390" cy="0"/>
          </a:xfrm>
          <a:prstGeom prst="line">
            <a:avLst/>
          </a:prstGeom>
          <a:noFill/>
          <a:ln w="50800" cap="flat">
            <a:solidFill>
              <a:srgbClr val="00B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5D233C69-48C5-153E-FF6D-3D03FEC36770}"/>
              </a:ext>
            </a:extLst>
          </p:cNvPr>
          <p:cNvCxnSpPr/>
          <p:nvPr/>
        </p:nvCxnSpPr>
        <p:spPr>
          <a:xfrm flipH="1">
            <a:off x="8101276" y="5610245"/>
            <a:ext cx="733390" cy="0"/>
          </a:xfrm>
          <a:prstGeom prst="line">
            <a:avLst/>
          </a:prstGeom>
          <a:noFill/>
          <a:ln w="50800" cap="flat">
            <a:solidFill>
              <a:srgbClr val="00B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3" name="Picture 122" descr="X:\Grafiken\Icons\150dpi\008_SAFTEY_TECHNOLOGY_150dpi_PNG\008_PNO_Icon_Safety_Technology_Saftey_CPU.png">
            <a:extLst>
              <a:ext uri="{FF2B5EF4-FFF2-40B4-BE49-F238E27FC236}">
                <a16:creationId xmlns:a16="http://schemas.microsoft.com/office/drawing/2014/main" id="{BAB5CF48-E0E8-019C-A55D-714E684E4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7842" y="1919097"/>
            <a:ext cx="1347787" cy="122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4" name="Picture 7" descr="X:\Grafiken\Icons\150dpi\008_SAFTEY_TECHNOLOGY_150dpi_PNG\008_PNO_Icon_Safety_Technology_Saftey_IO_modular.png">
            <a:extLst>
              <a:ext uri="{FF2B5EF4-FFF2-40B4-BE49-F238E27FC236}">
                <a16:creationId xmlns:a16="http://schemas.microsoft.com/office/drawing/2014/main" id="{FA7BC63B-271C-09C4-520A-C57742FA95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4498" y="3336837"/>
            <a:ext cx="1122363" cy="122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5" descr="X:\Grafiken\Icons\150dpi\008_SAFTEY_TECHNOLOGY_150dpi_PNG\008_PNO_Icon_Safety_Technology_Saftey_drive.png">
            <a:extLst>
              <a:ext uri="{FF2B5EF4-FFF2-40B4-BE49-F238E27FC236}">
                <a16:creationId xmlns:a16="http://schemas.microsoft.com/office/drawing/2014/main" id="{36D2A575-A1DD-CCA5-1411-2300509CCC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6319" y="4865348"/>
            <a:ext cx="1304925" cy="1427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3">
            <a:extLst>
              <a:ext uri="{FF2B5EF4-FFF2-40B4-BE49-F238E27FC236}">
                <a16:creationId xmlns:a16="http://schemas.microsoft.com/office/drawing/2014/main" id="{D23E1F20-4837-FC06-E30E-3C9838A395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5429" y="3356933"/>
            <a:ext cx="1264906" cy="1193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19B84040-FB29-A3A6-37FD-9E7D54234B36}"/>
              </a:ext>
            </a:extLst>
          </p:cNvPr>
          <p:cNvCxnSpPr>
            <a:cxnSpLocks/>
            <a:stCxn id="124" idx="3"/>
            <a:endCxn id="127" idx="1"/>
          </p:cNvCxnSpPr>
          <p:nvPr/>
        </p:nvCxnSpPr>
        <p:spPr>
          <a:xfrm>
            <a:off x="9966861" y="3949612"/>
            <a:ext cx="478568" cy="4143"/>
          </a:xfrm>
          <a:prstGeom prst="line">
            <a:avLst/>
          </a:prstGeom>
          <a:noFill/>
          <a:ln w="50800" cap="flat">
            <a:solidFill>
              <a:srgbClr val="00B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445932239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DAA17FD-6483-0EC0-E92A-EEF5DA429E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FD9B0-936A-A871-8490-AEB7943BE5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UK Industry can work with BSI (and internationally) to develop standards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GEL/65/1 (mirror committee for IEC SC65A), i.e. IEC 61508, IEC 61511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MCE/3 (mirror committee for IEC TC44), i.e. IEC 62061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MCE/3 (mirror committee for ISO TC199), i.e. ISO 13849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AMT/10/-/2 (mirror committee for ISO TC299), i.e. ISO 10218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GEL/65/0 (mirror committee for IEC TC65), i.e. IEC 62443.</a:t>
            </a:r>
          </a:p>
          <a:p>
            <a:pPr algn="just"/>
            <a:endParaRPr lang="en-GB" dirty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BS EN IEC / BS EN ISO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B854F2-CABD-6D1E-6815-00F99694D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SI Standards</a:t>
            </a:r>
          </a:p>
        </p:txBody>
      </p:sp>
    </p:spTree>
    <p:extLst>
      <p:ext uri="{BB962C8B-B14F-4D97-AF65-F5344CB8AC3E}">
        <p14:creationId xmlns:p14="http://schemas.microsoft.com/office/powerpoint/2010/main" val="413409658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A801C4-BEDE-B068-9867-DEDF20B236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Functional Safe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0ADFBB-99DC-8B42-AE9B-8CA46048816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60200" y="6376988"/>
            <a:ext cx="431800" cy="365125"/>
          </a:xfrm>
        </p:spPr>
        <p:txBody>
          <a:bodyPr/>
          <a:lstStyle/>
          <a:p>
            <a:fld id="{86CB4B4D-7CA3-9044-876B-883B54F8677D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4938540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13F207-0FAD-A023-41A9-6725E3DBF0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IEC 61508:2010 series </a:t>
            </a:r>
            <a:r>
              <a:rPr lang="en-GB" baseline="30000" dirty="0">
                <a:solidFill>
                  <a:schemeClr val="accent1"/>
                </a:solidFill>
              </a:rPr>
              <a:t>(MT 61508, stability date: 2023, Ed. 3 CDM comments)</a:t>
            </a:r>
          </a:p>
          <a:p>
            <a:pPr marL="964671" lvl="1" indent="-342900" algn="just">
              <a:buFont typeface="Wingdings" panose="05000000000000000000" pitchFamily="2" charset="2"/>
              <a:buChar char="§"/>
            </a:pPr>
            <a:r>
              <a:rPr lang="en-GB" sz="1400" i="1" dirty="0"/>
              <a:t>Functional safety of electrical / electronic / programmable electronic safety-related systems</a:t>
            </a:r>
            <a:r>
              <a:rPr lang="en-GB" sz="1400" dirty="0"/>
              <a:t> (basic safety publication)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IEC 61511-1:2017 </a:t>
            </a:r>
            <a:r>
              <a:rPr lang="en-GB" baseline="30000" dirty="0">
                <a:solidFill>
                  <a:schemeClr val="accent1"/>
                </a:solidFill>
              </a:rPr>
              <a:t>(MT 61511, stability date: 2026, Ed. 3 under discussion)</a:t>
            </a:r>
          </a:p>
          <a:p>
            <a:pPr marL="964671" lvl="1" indent="-342900" algn="just">
              <a:buFont typeface="Wingdings" panose="05000000000000000000" pitchFamily="2" charset="2"/>
              <a:buChar char="§"/>
            </a:pPr>
            <a:r>
              <a:rPr lang="en-GB" sz="1400" i="1" dirty="0"/>
              <a:t>Functional safety – Safety instrumented systems for the process sector – Part 1: Framework, definitions, system, hardware and application programming requirements</a:t>
            </a:r>
            <a:r>
              <a:rPr lang="en-GB" sz="1400" dirty="0"/>
              <a:t>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IEC 62061:2021</a:t>
            </a:r>
          </a:p>
          <a:p>
            <a:pPr marL="964671" lvl="1" indent="-342900" algn="just">
              <a:buFont typeface="Wingdings" panose="05000000000000000000" pitchFamily="2" charset="2"/>
              <a:buChar char="§"/>
            </a:pPr>
            <a:r>
              <a:rPr lang="en-GB" sz="1400" i="1" dirty="0"/>
              <a:t>Safety of machinery – Functional safety of safety-related control systems</a:t>
            </a:r>
            <a:r>
              <a:rPr lang="en-GB" sz="1400" dirty="0"/>
              <a:t>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ISO 13849-1:2023</a:t>
            </a:r>
          </a:p>
          <a:p>
            <a:pPr marL="964671" lvl="1" indent="-342900" algn="just">
              <a:buFont typeface="Wingdings" panose="05000000000000000000" pitchFamily="2" charset="2"/>
              <a:buChar char="§"/>
            </a:pPr>
            <a:r>
              <a:rPr lang="en-GB" sz="1400" i="1" dirty="0"/>
              <a:t>Safety of machinery – Safety-related parts of control systems</a:t>
            </a:r>
            <a:r>
              <a:rPr lang="en-GB" sz="1400" dirty="0"/>
              <a:t>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ISO 13949-1:2015</a:t>
            </a:r>
          </a:p>
          <a:p>
            <a:pPr marL="964671" lvl="1" indent="-342900" algn="just">
              <a:buFont typeface="Wingdings" panose="05000000000000000000" pitchFamily="2" charset="2"/>
              <a:buChar char="§"/>
            </a:pPr>
            <a:r>
              <a:rPr lang="en-GB" sz="1400" i="1" dirty="0"/>
              <a:t>Safety of machinery – Safety-related parts of control systems – Part 1: General principles for desig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9588E3-8B11-CA19-4DC3-21C888525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rnational Standards – Functional Safety</a:t>
            </a:r>
          </a:p>
        </p:txBody>
      </p:sp>
    </p:spTree>
    <p:extLst>
      <p:ext uri="{BB962C8B-B14F-4D97-AF65-F5344CB8AC3E}">
        <p14:creationId xmlns:p14="http://schemas.microsoft.com/office/powerpoint/2010/main" val="1782099035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662AE4-BEFE-09EF-E3DA-EB66EAEDD7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6CFA89-D2DC-381F-DF23-00950C1F7B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70000" lnSpcReduction="20000"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3100" dirty="0"/>
              <a:t>Technical changes in this 2</a:t>
            </a:r>
            <a:r>
              <a:rPr lang="en-GB" sz="3100" baseline="30000" dirty="0"/>
              <a:t>nd</a:t>
            </a:r>
            <a:r>
              <a:rPr lang="en-GB" sz="3100" dirty="0"/>
              <a:t> Edition: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structure has been changed and contents have been updated to reflect the design process of the safety function,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standard extended to non-electrical technologies (SRECS to SCS),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definitions updated to be aligned with IEC 61508-4,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functional safety </a:t>
            </a:r>
            <a:r>
              <a:rPr lang="en-US" dirty="0">
                <a:solidFill>
                  <a:schemeClr val="accent1"/>
                </a:solidFill>
              </a:rPr>
              <a:t>plan</a:t>
            </a:r>
            <a:r>
              <a:rPr lang="en-US" dirty="0"/>
              <a:t> introduced and configuration management updated (Clause 4),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requirements on parametrization expanded (Clause 6),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reference to requirements on security (incl. human error) added (Subclause 6.8),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requirements on </a:t>
            </a:r>
            <a:r>
              <a:rPr lang="en-US" dirty="0">
                <a:solidFill>
                  <a:schemeClr val="accent1"/>
                </a:solidFill>
              </a:rPr>
              <a:t>periodic testing</a:t>
            </a:r>
            <a:r>
              <a:rPr lang="en-US" dirty="0"/>
              <a:t> added (Subclause 6.9),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various improvements and clarification on architectures and reliability calculations (Clause 6 and Clause 7),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shift from "SILCL" to "maximum SIL" of a subsystem (Clause 7),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use cases for software described including requirements (Clause 8),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requirements on independence for software verification (Clause 8) and validation activities (Clause 9) added,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new informative annex with examples (Annex G),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new informative annexes on typical MTTF</a:t>
            </a:r>
            <a:r>
              <a:rPr lang="en-US" baseline="-25000" dirty="0"/>
              <a:t>D</a:t>
            </a:r>
            <a:r>
              <a:rPr lang="en-US" dirty="0"/>
              <a:t> values, diagnostics and calculation methods for the architectures (Annex C, D and H)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GB" dirty="0"/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8BCDC7-84BF-BC6B-B685-045E9A4FC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EC 62061 (Machinery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7F8F53-B332-2D5B-A7A5-29C003AD0FE9}"/>
              </a:ext>
            </a:extLst>
          </p:cNvPr>
          <p:cNvSpPr txBox="1"/>
          <p:nvPr/>
        </p:nvSpPr>
        <p:spPr>
          <a:xfrm>
            <a:off x="2453948" y="5983602"/>
            <a:ext cx="7119257" cy="6344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900"/>
              </a:spcBef>
            </a:pPr>
            <a:r>
              <a:rPr lang="en-GB" u="sng" dirty="0">
                <a:solidFill>
                  <a:schemeClr val="accent4"/>
                </a:solidFill>
              </a:rPr>
              <a:t>We only cover some update topics. Please read the full standard.</a:t>
            </a:r>
          </a:p>
        </p:txBody>
      </p:sp>
    </p:spTree>
    <p:extLst>
      <p:ext uri="{BB962C8B-B14F-4D97-AF65-F5344CB8AC3E}">
        <p14:creationId xmlns:p14="http://schemas.microsoft.com/office/powerpoint/2010/main" val="39766853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EF2D685-3197-822B-40F4-629CC1CA4E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0D9C5A-0CF0-7C4C-9C4F-8D531DCA2DD4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97730B-25B3-2A00-20C6-CE657F7218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Not yet Harmonized (EU) or Designated (UK)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Brought some aspects from ISO 13849-2 into ISO 13849-1 (always required)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Better order / flow, basically trying to fix it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Influenced by the attempt to combine IEC 62061 / ISO 13849 (still different)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dirty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SRESW / standard PLCs in safety functions (IEC 61508)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Alternative approach to determine PL with data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dirty="0"/>
              <a:t>EMC / EMI (Annex L)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E802F8-B492-AF4F-48EB-63EE3808D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w ISO 13849 (Machinery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5C2B2D9-BBAB-65F0-261D-DF1BB4A15368}"/>
              </a:ext>
            </a:extLst>
          </p:cNvPr>
          <p:cNvSpPr txBox="1"/>
          <p:nvPr/>
        </p:nvSpPr>
        <p:spPr>
          <a:xfrm>
            <a:off x="2453948" y="5983602"/>
            <a:ext cx="7119257" cy="6344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900"/>
              </a:spcBef>
            </a:pPr>
            <a:r>
              <a:rPr lang="en-GB" u="sng" dirty="0">
                <a:solidFill>
                  <a:schemeClr val="accent4"/>
                </a:solidFill>
              </a:rPr>
              <a:t>We only cover some update topics. Please read the full standard.</a:t>
            </a:r>
          </a:p>
        </p:txBody>
      </p:sp>
    </p:spTree>
    <p:extLst>
      <p:ext uri="{BB962C8B-B14F-4D97-AF65-F5344CB8AC3E}">
        <p14:creationId xmlns:p14="http://schemas.microsoft.com/office/powerpoint/2010/main" val="290156814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R - MASTER - LAYOUT">
  <a:themeElements>
    <a:clrScheme name="Custom 1">
      <a:dk1>
        <a:srgbClr val="04AA9E"/>
      </a:dk1>
      <a:lt1>
        <a:srgbClr val="FFFFFF"/>
      </a:lt1>
      <a:dk2>
        <a:srgbClr val="0D4665"/>
      </a:dk2>
      <a:lt2>
        <a:srgbClr val="BB6786"/>
      </a:lt2>
      <a:accent1>
        <a:srgbClr val="10715E"/>
      </a:accent1>
      <a:accent2>
        <a:srgbClr val="B0D65E"/>
      </a:accent2>
      <a:accent3>
        <a:srgbClr val="F3D044"/>
      </a:accent3>
      <a:accent4>
        <a:srgbClr val="FAA869"/>
      </a:accent4>
      <a:accent5>
        <a:srgbClr val="6F64CB"/>
      </a:accent5>
      <a:accent6>
        <a:srgbClr val="70378D"/>
      </a:accent6>
      <a:hlink>
        <a:srgbClr val="BB6786"/>
      </a:hlink>
      <a:folHlink>
        <a:srgbClr val="BB6786"/>
      </a:folHlink>
    </a:clrScheme>
    <a:fontScheme name="LR font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 dirty="0">
            <a:ln>
              <a:noFill/>
            </a:ln>
            <a:noFill/>
            <a:effectLst/>
            <a:uFillTx/>
            <a:latin typeface="Source Sans Pro" panose="020B0503030403020204" pitchFamily="34" charset="0"/>
            <a:ea typeface="Source Sans Pro" panose="020B0503030403020204" pitchFamily="34" charset="0"/>
            <a:cs typeface="Silka Medium"/>
            <a:sym typeface="Silka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none" lIns="50800" tIns="50800" rIns="50800" bIns="50800" numCol="1" spcCol="38100" rtlCol="0" anchor="t">
        <a:normAutofit/>
      </a:bodyPr>
      <a:lstStyle>
        <a:defPPr marL="0" marR="0" indent="0" algn="l" defTabSz="457200" rtl="0" fontAlgn="auto" latinLnBrk="0" hangingPunct="0"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000" b="0" i="0" u="none" strike="noStrike" cap="none" spc="0" normalizeH="0" baseline="0" dirty="0" err="1" smtClean="0">
            <a:ln>
              <a:noFill/>
            </a:ln>
            <a:solidFill>
              <a:srgbClr val="132421"/>
            </a:solidFill>
            <a:effectLst/>
            <a:uFill>
              <a:solidFill>
                <a:srgbClr val="132421"/>
              </a:solidFill>
            </a:uFill>
            <a:ea typeface="Silka Light"/>
            <a:cs typeface="Silka Light"/>
            <a:sym typeface="Silka Light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8ab9311-7046-4bb7-974b-6fe91988ac0c">
      <Terms xmlns="http://schemas.microsoft.com/office/infopath/2007/PartnerControls"/>
    </lcf76f155ced4ddcb4097134ff3c332f>
    <TaxCatchAll xmlns="3c75805d-aee7-4d71-a9b1-7853ef470bef" xsi:nil="true"/>
    <MediaLengthInSeconds xmlns="58ab9311-7046-4bb7-974b-6fe91988ac0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Global Marine Marketing Document" ma:contentTypeID="0x0101000324CBCB0B78574FA7645E3E013D5CD000F1B6EBA3C823F3459AF2E3875762D7AC004877076C7918574AAEC4EDCA8D7533D4" ma:contentTypeVersion="22" ma:contentTypeDescription="" ma:contentTypeScope="" ma:versionID="9f0f6d783da5af4f7f8051275701f2f9">
  <xsd:schema xmlns:xsd="http://www.w3.org/2001/XMLSchema" xmlns:xs="http://www.w3.org/2001/XMLSchema" xmlns:p="http://schemas.microsoft.com/office/2006/metadata/properties" xmlns:ns1="http://schemas.microsoft.com/sharepoint/v3" xmlns:ns2="a5f8ab96-b647-44ee-8051-6ce0fea232c8" xmlns:ns3="e4c66363-0ac4-4379-b8f0-42b66e9cf5af" xmlns:ns4="bb56c188-1d3c-41f7-ab57-b6f66b1c8b7a" targetNamespace="http://schemas.microsoft.com/office/2006/metadata/properties" ma:root="true" ma:fieldsID="0797739591a1e84c0659bb920ab3a6d1" ns1:_="" ns2:_="" ns3:_="" ns4:_="">
    <xsd:import namespace="http://schemas.microsoft.com/sharepoint/v3"/>
    <xsd:import namespace="a5f8ab96-b647-44ee-8051-6ce0fea232c8"/>
    <xsd:import namespace="e4c66363-0ac4-4379-b8f0-42b66e9cf5af"/>
    <xsd:import namespace="bb56c188-1d3c-41f7-ab57-b6f66b1c8b7a"/>
    <xsd:element name="properties">
      <xsd:complexType>
        <xsd:sequence>
          <xsd:element name="documentManagement">
            <xsd:complexType>
              <xsd:all>
                <xsd:element ref="ns2:ea6fdca0dc3d477a85eb2d54cfca3ac4" minOccurs="0"/>
                <xsd:element ref="ns2:TaxCatchAll" minOccurs="0"/>
                <xsd:element ref="ns2:TaxCatchAllLabel" minOccurs="0"/>
                <xsd:element ref="ns2:e36707d4290f456d869e0514d9dab6da" minOccurs="0"/>
                <xsd:element ref="ns2:n23cfe909ce54ec9bd4082373f768e33" minOccurs="0"/>
                <xsd:element ref="ns2:d28a5e50745243caa016809657bff35b" minOccurs="0"/>
                <xsd:element ref="ns2:le57b6238bbb48ad992be5e24c0256b9" minOccurs="0"/>
                <xsd:element ref="ns1:_dlc_Exempt" minOccurs="0"/>
                <xsd:element ref="ns1:_dlc_ExpireDateSaved" minOccurs="0"/>
                <xsd:element ref="ns1:_dlc_ExpireDate" minOccurs="0"/>
                <xsd:element ref="ns3:Admin" minOccurs="0"/>
                <xsd:element ref="ns3:Marketing" minOccurs="0"/>
                <xsd:element ref="ns3:Eventtype" minOccurs="0"/>
                <xsd:element ref="ns3:Collateral" minOccurs="0"/>
                <xsd:element ref="ns3:Corporateidentity" minOccurs="0"/>
                <xsd:element ref="ns3:SharedWithUsers" minOccurs="0"/>
                <xsd:element ref="ns3:SharedWithDetails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OCR" minOccurs="0"/>
                <xsd:element ref="ns4:MediaServiceLocation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20" nillable="true" ma:displayName="Exempt from Policy" ma:description="" ma:hidden="true" ma:internalName="_dlc_Exempt" ma:readOnly="true">
      <xsd:simpleType>
        <xsd:restriction base="dms:Unknown"/>
      </xsd:simpleType>
    </xsd:element>
    <xsd:element name="_dlc_ExpireDateSaved" ma:index="21" nillable="true" ma:displayName="Original Expiration Date" ma:description="" ma:hidden="true" ma:internalName="_dlc_ExpireDateSaved" ma:readOnly="true">
      <xsd:simpleType>
        <xsd:restriction base="dms:DateTime"/>
      </xsd:simpleType>
    </xsd:element>
    <xsd:element name="_dlc_ExpireDate" ma:index="22" nillable="true" ma:displayName="Expiration Date" ma:description="" ma:hidden="true" ma:indexed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f8ab96-b647-44ee-8051-6ce0fea232c8" elementFormDefault="qualified">
    <xsd:import namespace="http://schemas.microsoft.com/office/2006/documentManagement/types"/>
    <xsd:import namespace="http://schemas.microsoft.com/office/infopath/2007/PartnerControls"/>
    <xsd:element name="ea6fdca0dc3d477a85eb2d54cfca3ac4" ma:index="8" nillable="true" ma:taxonomy="true" ma:internalName="ea6fdca0dc3d477a85eb2d54cfca3ac4" ma:taxonomyFieldName="LR_x0020_Company" ma:displayName="LR Company" ma:default="" ma:fieldId="{ea6fdca0-dc3d-477a-85eb-2d54cfca3ac4}" ma:taxonomyMulti="true" ma:sspId="9782c4b5-a105-41a1-bdd4-3e36c38a1249" ma:termSetId="b292d854-4fc7-4709-a418-fe538ee17d6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description="" ma:hidden="true" ma:list="{27c46a86-cb55-4c79-9142-e4208543ecc4}" ma:internalName="TaxCatchAll" ma:showField="CatchAllData" ma:web="e4c66363-0ac4-4379-b8f0-42b66e9cf5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27c46a86-cb55-4c79-9142-e4208543ecc4}" ma:internalName="TaxCatchAllLabel" ma:readOnly="true" ma:showField="CatchAllDataLabel" ma:web="e4c66363-0ac4-4379-b8f0-42b66e9cf5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36707d4290f456d869e0514d9dab6da" ma:index="12" nillable="true" ma:taxonomy="true" ma:internalName="e36707d4290f456d869e0514d9dab6da" ma:taxonomyFieldName="Business_x0020_Division" ma:displayName="Business Division" ma:default="" ma:fieldId="{e36707d4-290f-456d-869e-0514d9dab6da}" ma:sspId="9782c4b5-a105-41a1-bdd4-3e36c38a1249" ma:termSetId="d5cec6b8-384e-4dae-8e0e-2883e284206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n23cfe909ce54ec9bd4082373f768e33" ma:index="14" nillable="true" ma:taxonomy="true" ma:internalName="n23cfe909ce54ec9bd4082373f768e33" ma:taxonomyFieldName="Geography" ma:displayName="Geography" ma:default="" ma:fieldId="{723cfe90-9ce5-4ec9-bd40-82373f768e33}" ma:taxonomyMulti="true" ma:sspId="9782c4b5-a105-41a1-bdd4-3e36c38a1249" ma:termSetId="18a4862e-a666-4b43-8ad1-8fb7b7a766c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28a5e50745243caa016809657bff35b" ma:index="16" nillable="true" ma:taxonomy="true" ma:internalName="d28a5e50745243caa016809657bff35b" ma:taxonomyFieldName="Service_x0020_Sector" ma:displayName="Service Sector" ma:default="" ma:fieldId="{d28a5e50-7452-43ca-a016-809657bff35b}" ma:taxonomyMulti="true" ma:sspId="9782c4b5-a105-41a1-bdd4-3e36c38a1249" ma:termSetId="595434e7-ee8a-422b-b36c-49d7f866f52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e57b6238bbb48ad992be5e24c0256b9" ma:index="18" nillable="true" ma:taxonomy="true" ma:internalName="le57b6238bbb48ad992be5e24c0256b9" ma:taxonomyFieldName="Strategic_x0020_Themes" ma:displayName="Strategic Themes" ma:default="" ma:fieldId="{5e57b623-8bbb-48ad-992b-e5e24c0256b9}" ma:taxonomyMulti="true" ma:sspId="9782c4b5-a105-41a1-bdd4-3e36c38a1249" ma:termSetId="62a6ddd0-7ad0-4078-a12b-fe0b4aae5c50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c66363-0ac4-4379-b8f0-42b66e9cf5af" elementFormDefault="qualified">
    <xsd:import namespace="http://schemas.microsoft.com/office/2006/documentManagement/types"/>
    <xsd:import namespace="http://schemas.microsoft.com/office/infopath/2007/PartnerControls"/>
    <xsd:element name="Admin" ma:index="23" nillable="true" ma:displayName="Admin" ma:format="Dropdown" ma:internalName="Admin">
      <xsd:simpleType>
        <xsd:restriction base="dms:Choice">
          <xsd:enumeration value="Budget"/>
          <xsd:enumeration value="Finance"/>
          <xsd:enumeration value="Flexitime"/>
          <xsd:enumeration value="Leave"/>
          <xsd:enumeration value="Plan"/>
          <xsd:enumeration value="Process"/>
          <xsd:enumeration value="Sickness"/>
          <xsd:enumeration value="Team meeting"/>
          <xsd:enumeration value="Travel"/>
        </xsd:restriction>
      </xsd:simpleType>
    </xsd:element>
    <xsd:element name="Marketing" ma:index="24" nillable="true" ma:displayName="Marketing" ma:format="Dropdown" ma:internalName="Marketing">
      <xsd:simpleType>
        <xsd:restriction base="dms:Choice">
          <xsd:enumeration value="Competitor information"/>
          <xsd:enumeration value="Digital"/>
          <xsd:enumeration value="Event"/>
          <xsd:enumeration value="Plan"/>
          <xsd:enumeration value="Process"/>
          <xsd:enumeration value="Social"/>
          <xsd:enumeration value="Strategy"/>
        </xsd:restriction>
      </xsd:simpleType>
    </xsd:element>
    <xsd:element name="Eventtype" ma:index="25" nillable="true" ma:displayName="Event type" ma:format="Dropdown" ma:internalName="Eventtype" ma:readOnly="false">
      <xsd:simpleType>
        <xsd:restriction base="dms:Choice">
          <xsd:enumeration value="Awards"/>
          <xsd:enumeration value="Conference"/>
          <xsd:enumeration value="Exhibition"/>
          <xsd:enumeration value="Reception"/>
          <xsd:enumeration value="Seminar"/>
          <xsd:enumeration value="Webinar"/>
        </xsd:restriction>
      </xsd:simpleType>
    </xsd:element>
    <xsd:element name="Collateral" ma:index="26" nillable="true" ma:displayName="Collateral" ma:format="Dropdown" ma:internalName="Collateral">
      <xsd:simpleType>
        <xsd:restriction base="dms:Choice">
          <xsd:enumeration value="Advert"/>
          <xsd:enumeration value="Brochure"/>
          <xsd:enumeration value="Case study"/>
          <xsd:enumeration value="Guidance"/>
          <xsd:enumeration value="Magazine"/>
          <xsd:enumeration value="Pop-up banners"/>
          <xsd:enumeration value="Press release"/>
          <xsd:enumeration value="Reference story"/>
          <xsd:enumeration value="Report"/>
          <xsd:enumeration value="Sales collateral"/>
        </xsd:restriction>
      </xsd:simpleType>
    </xsd:element>
    <xsd:element name="Corporateidentity" ma:index="27" nillable="true" ma:displayName="Corporate identity" ma:format="Dropdown" ma:internalName="Corporateidentity" ma:readOnly="false">
      <xsd:simpleType>
        <xsd:restriction base="dms:Choice">
          <xsd:enumeration value="Logo"/>
          <xsd:enumeration value="Brand guidelines"/>
          <xsd:enumeration value="Company profile"/>
          <xsd:enumeration value="Template"/>
        </xsd:restriction>
      </xsd:simpleType>
    </xsd:element>
    <xsd:element name="SharedWithUsers" ma:index="2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56c188-1d3c-41f7-ab57-b6f66b1c8b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3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3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32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3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CR" ma:index="3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35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3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3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3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4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AF4AFB500AA2458770194D1FEA7740" ma:contentTypeVersion="11" ma:contentTypeDescription="Create a new document." ma:contentTypeScope="" ma:versionID="00c40767c8fda6ac08cbdb3d37e8119e">
  <xsd:schema xmlns:xsd="http://www.w3.org/2001/XMLSchema" xmlns:xs="http://www.w3.org/2001/XMLSchema" xmlns:p="http://schemas.microsoft.com/office/2006/metadata/properties" xmlns:ns2="58ab9311-7046-4bb7-974b-6fe91988ac0c" xmlns:ns3="3c75805d-aee7-4d71-a9b1-7853ef470bef" targetNamespace="http://schemas.microsoft.com/office/2006/metadata/properties" ma:root="true" ma:fieldsID="30f6fc4f9e519404c803ef2c8fd63e48" ns2:_="" ns3:_="">
    <xsd:import namespace="58ab9311-7046-4bb7-974b-6fe91988ac0c"/>
    <xsd:import namespace="3c75805d-aee7-4d71-a9b1-7853ef470b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ab9311-7046-4bb7-974b-6fe91988ac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4a5f81d0-cc8c-4396-a01c-a18c79d9454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75805d-aee7-4d71-a9b1-7853ef470bef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584abc7b-8bba-43bc-bb9f-a1ac91a9ad51}" ma:internalName="TaxCatchAll" ma:showField="CatchAllData" ma:web="3c75805d-aee7-4d71-a9b1-7853ef470be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6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6.0.0.0, Culture=neutral, PublicKeyToken=71e9bce111e9429c</Assembly>
    <Class>Microsoft.Office.RecordsManagement.Internal.UpdateExpireDate</Class>
    <Data/>
    <Filter/>
  </Receiver>
</spe:Receiver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?mso-contentType ?>
<p:Policy xmlns:p="office.server.policy" id="" local="true">
  <p:Name>LR Document</p:Name>
  <p:Description>Delete all previous versions of the document one year after the document is created.</p:Description>
  <p:Statement>Document associated with the LR Document content type are subject to a retention policy. If the document is not modified for 2 year the policy will delete all previous versions of the document. If the document is not modified for 7 years it will be sent to recycle bin.</p:Statement>
  <p:PolicyItems>
    <p:PolicyItem featureId="Microsoft.Office.RecordsManagement.PolicyFeatures.Expiration" staticId="0x0101000324CBCB0B78574FA7645E3E013D5CD0|-1473520013" UniqueId="e96759ec-5483-4cd7-b06a-5bf549de2bd4">
      <p:Name>Retention</p:Name>
      <p:Description>Automatic scheduling of content for processing, and performing a retention action on content that has reached its due date.</p:Description>
      <p:CustomData>
        <Schedules nextStageId="3">
          <Schedule type="Default">
            <stages>
              <data stageId="1" recur="true" offset="1" unit="months">
                <formula id="Microsoft.Office.RecordsManagement.PolicyFeatures.Expiration.Formula.BuiltIn">
                  <number>2</number>
                  <property>Modified</property>
                  <propertyId>28cf69c5-fa48-462a-b5cd-27b6f9d2bd5f</propertyId>
                  <period>years</period>
                </formula>
                <action type="action" id="Microsoft.Office.RecordsManagement.PolicyFeatures.Expiration.Action.DeletePreviousVersions"/>
              </data>
              <data stageId="2">
                <formula id="Microsoft.Office.RecordsManagement.PolicyFeatures.Expiration.Formula.BuiltIn">
                  <number>7</number>
                  <property>Modified</property>
                  <propertyId>28cf69c5-fa48-462a-b5cd-27b6f9d2bd5f</propertyId>
                  <period>years</period>
                </formula>
                <action type="action" id="Microsoft.Office.RecordsManagement.PolicyFeatures.Expiration.Action.MoveToRecycleBin"/>
              </data>
            </stages>
          </Schedule>
        </Schedules>
      </p:CustomData>
    </p:PolicyItem>
  </p:PolicyItems>
</p:Policy>
</file>

<file path=customXml/itemProps1.xml><?xml version="1.0" encoding="utf-8"?>
<ds:datastoreItem xmlns:ds="http://schemas.openxmlformats.org/officeDocument/2006/customXml" ds:itemID="{A5D23445-76B8-4A39-9183-9970E456250A}">
  <ds:schemaRefs>
    <ds:schemaRef ds:uri="e4c66363-0ac4-4379-b8f0-42b66e9cf5af"/>
    <ds:schemaRef ds:uri="http://schemas.microsoft.com/sharepoint/v3"/>
    <ds:schemaRef ds:uri="http://purl.org/dc/terms/"/>
    <ds:schemaRef ds:uri="bb56c188-1d3c-41f7-ab57-b6f66b1c8b7a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a5f8ab96-b647-44ee-8051-6ce0fea232c8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7E896BB-CA8D-4900-989A-272A1CADD5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5f8ab96-b647-44ee-8051-6ce0fea232c8"/>
    <ds:schemaRef ds:uri="e4c66363-0ac4-4379-b8f0-42b66e9cf5af"/>
    <ds:schemaRef ds:uri="bb56c188-1d3c-41f7-ab57-b6f66b1c8b7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6CA1C0D-F521-4DC8-9DD3-980CBF68A0F7}"/>
</file>

<file path=customXml/itemProps4.xml><?xml version="1.0" encoding="utf-8"?>
<ds:datastoreItem xmlns:ds="http://schemas.openxmlformats.org/officeDocument/2006/customXml" ds:itemID="{E0EBE8F1-A5AA-4E63-8D8F-B9BC91037B95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B8BE57DE-6EF9-483D-A7FF-7BB6D5F484C7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7A84A60A-2EB1-4C2F-80AF-307586002116}">
  <ds:schemaRefs>
    <ds:schemaRef ds:uri="office.server.policy"/>
  </ds:schemaRefs>
</ds:datastoreItem>
</file>

<file path=docMetadata/LabelInfo.xml><?xml version="1.0" encoding="utf-8"?>
<clbl:labelList xmlns:clbl="http://schemas.microsoft.com/office/2020/mipLabelMetadata">
  <clbl:label id="{7e7966d5-0f9c-4032-b08c-36f5d7ad1524}" enabled="1" method="Privileged" siteId="{4a3454a0-8cf4-4a9c-b1c0-6ce4d1495f82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258</TotalTime>
  <Words>2002</Words>
  <Application>Microsoft Office PowerPoint</Application>
  <PresentationFormat>Widescreen</PresentationFormat>
  <Paragraphs>254</Paragraphs>
  <Slides>17</Slides>
  <Notes>15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Silka Bold</vt:lpstr>
      <vt:lpstr>Silka Regular</vt:lpstr>
      <vt:lpstr>Arial</vt:lpstr>
      <vt:lpstr>Calibri</vt:lpstr>
      <vt:lpstr>Source Sans Pro</vt:lpstr>
      <vt:lpstr>Wingdings</vt:lpstr>
      <vt:lpstr>LR - MASTER - LAYOUT</vt:lpstr>
      <vt:lpstr>think-cell Folie</vt:lpstr>
      <vt:lpstr>PowerPoint Presentation</vt:lpstr>
      <vt:lpstr>Cyclic Communication, CSMA/CD, CSMA/CA, TSN</vt:lpstr>
      <vt:lpstr>PROFIsafe – Add-on Strategy</vt:lpstr>
      <vt:lpstr>PROFIsafe – Application Program</vt:lpstr>
      <vt:lpstr>BSI Standards</vt:lpstr>
      <vt:lpstr>PowerPoint Presentation</vt:lpstr>
      <vt:lpstr>International Standards – Functional Safety</vt:lpstr>
      <vt:lpstr>IEC 62061 (Machinery)</vt:lpstr>
      <vt:lpstr>New ISO 13849 (Machinery)</vt:lpstr>
      <vt:lpstr>PowerPoint Presentation</vt:lpstr>
      <vt:lpstr>No Safety without Security?</vt:lpstr>
      <vt:lpstr>IACS Security Standards</vt:lpstr>
      <vt:lpstr>IACS Security Standards</vt:lpstr>
      <vt:lpstr>Cyber Security</vt:lpstr>
      <vt:lpstr>Trusted maritime advisers   Partnering with clients to drive performance across the ocean economy</vt:lpstr>
      <vt:lpstr>Offshore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nessa Cheal</dc:creator>
  <cp:lastModifiedBy>Peter Brown</cp:lastModifiedBy>
  <cp:revision>248</cp:revision>
  <cp:lastPrinted>2021-08-16T08:10:59Z</cp:lastPrinted>
  <dcterms:created xsi:type="dcterms:W3CDTF">2021-08-11T06:51:53Z</dcterms:created>
  <dcterms:modified xsi:type="dcterms:W3CDTF">2023-06-19T19:43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AF4AFB500AA2458770194D1FEA7740</vt:lpwstr>
  </property>
  <property fmtid="{D5CDD505-2E9C-101B-9397-08002B2CF9AE}" pid="3" name="_dlc_policyId">
    <vt:lpwstr>0x0101000324CBCB0B78574FA7645E3E013D5CD0|-1473520013</vt:lpwstr>
  </property>
  <property fmtid="{D5CDD505-2E9C-101B-9397-08002B2CF9AE}" pid="4" name="ItemRetentionFormula">
    <vt:lpwstr>&lt;formula id="Microsoft.Office.RecordsManagement.PolicyFeatures.Expiration.Formula.BuiltIn"&gt;&lt;number&gt;2&lt;/number&gt;&lt;property&gt;Modified&lt;/property&gt;&lt;propertyId&gt;28cf69c5-fa48-462a-b5cd-27b6f9d2bd5f&lt;/propertyId&gt;&lt;period&gt;years&lt;/period&gt;&lt;/formula&gt;</vt:lpwstr>
  </property>
  <property fmtid="{D5CDD505-2E9C-101B-9397-08002B2CF9AE}" pid="5" name="Geography">
    <vt:lpwstr/>
  </property>
  <property fmtid="{D5CDD505-2E9C-101B-9397-08002B2CF9AE}" pid="6" name="Strategic Themes">
    <vt:lpwstr/>
  </property>
  <property fmtid="{D5CDD505-2E9C-101B-9397-08002B2CF9AE}" pid="7" name="Service Sector">
    <vt:lpwstr/>
  </property>
  <property fmtid="{D5CDD505-2E9C-101B-9397-08002B2CF9AE}" pid="8" name="LR Company">
    <vt:lpwstr/>
  </property>
  <property fmtid="{D5CDD505-2E9C-101B-9397-08002B2CF9AE}" pid="9" name="Business Division">
    <vt:lpwstr/>
  </property>
  <property fmtid="{D5CDD505-2E9C-101B-9397-08002B2CF9AE}" pid="10" name="MSIP_Label_d5c4c49b-ebde-4356-a4f6-d1d955faa706_Enabled">
    <vt:lpwstr>true</vt:lpwstr>
  </property>
  <property fmtid="{D5CDD505-2E9C-101B-9397-08002B2CF9AE}" pid="11" name="MSIP_Label_d5c4c49b-ebde-4356-a4f6-d1d955faa706_SetDate">
    <vt:lpwstr>2022-03-22T12:06:44Z</vt:lpwstr>
  </property>
  <property fmtid="{D5CDD505-2E9C-101B-9397-08002B2CF9AE}" pid="12" name="MSIP_Label_d5c4c49b-ebde-4356-a4f6-d1d955faa706_Method">
    <vt:lpwstr>Standard</vt:lpwstr>
  </property>
  <property fmtid="{D5CDD505-2E9C-101B-9397-08002B2CF9AE}" pid="13" name="MSIP_Label_d5c4c49b-ebde-4356-a4f6-d1d955faa706_Name">
    <vt:lpwstr>ConfidentialLR_LR</vt:lpwstr>
  </property>
  <property fmtid="{D5CDD505-2E9C-101B-9397-08002B2CF9AE}" pid="14" name="MSIP_Label_d5c4c49b-ebde-4356-a4f6-d1d955faa706_SiteId">
    <vt:lpwstr>4a3454a0-8cf4-4a9c-b1c0-6ce4d1495f82</vt:lpwstr>
  </property>
  <property fmtid="{D5CDD505-2E9C-101B-9397-08002B2CF9AE}" pid="15" name="MSIP_Label_d5c4c49b-ebde-4356-a4f6-d1d955faa706_ActionId">
    <vt:lpwstr>3e10c8cf-b140-43b3-9fcf-10e60ab0ca5a</vt:lpwstr>
  </property>
  <property fmtid="{D5CDD505-2E9C-101B-9397-08002B2CF9AE}" pid="16" name="MSIP_Label_d5c4c49b-ebde-4356-a4f6-d1d955faa706_ContentBits">
    <vt:lpwstr>0</vt:lpwstr>
  </property>
  <property fmtid="{D5CDD505-2E9C-101B-9397-08002B2CF9AE}" pid="17" name="LR_Classification">
    <vt:lpwstr>Confidential - LR \ LR</vt:lpwstr>
  </property>
  <property fmtid="{D5CDD505-2E9C-101B-9397-08002B2CF9AE}" pid="18" name="Order">
    <vt:r8>2400</vt:r8>
  </property>
  <property fmtid="{D5CDD505-2E9C-101B-9397-08002B2CF9AE}" pid="19" name="xd_Signature">
    <vt:bool>false</vt:bool>
  </property>
  <property fmtid="{D5CDD505-2E9C-101B-9397-08002B2CF9AE}" pid="20" name="xd_ProgID">
    <vt:lpwstr/>
  </property>
  <property fmtid="{D5CDD505-2E9C-101B-9397-08002B2CF9AE}" pid="21" name="_SourceUrl">
    <vt:lpwstr/>
  </property>
  <property fmtid="{D5CDD505-2E9C-101B-9397-08002B2CF9AE}" pid="22" name="_SharedFileIndex">
    <vt:lpwstr/>
  </property>
  <property fmtid="{D5CDD505-2E9C-101B-9397-08002B2CF9AE}" pid="23" name="ComplianceAssetId">
    <vt:lpwstr/>
  </property>
  <property fmtid="{D5CDD505-2E9C-101B-9397-08002B2CF9AE}" pid="24" name="TemplateUrl">
    <vt:lpwstr/>
  </property>
  <property fmtid="{D5CDD505-2E9C-101B-9397-08002B2CF9AE}" pid="25" name="_ExtendedDescription">
    <vt:lpwstr/>
  </property>
  <property fmtid="{D5CDD505-2E9C-101B-9397-08002B2CF9AE}" pid="26" name="TriggerFlowInfo">
    <vt:lpwstr/>
  </property>
</Properties>
</file>